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2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4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5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1"/>
    <p:sldMasterId id="2147483785" r:id="rId2"/>
    <p:sldMasterId id="2147483843" r:id="rId3"/>
    <p:sldMasterId id="2147483855" r:id="rId4"/>
    <p:sldMasterId id="2147483867" r:id="rId5"/>
    <p:sldMasterId id="2147483876" r:id="rId6"/>
  </p:sldMasterIdLst>
  <p:notesMasterIdLst>
    <p:notesMasterId r:id="rId21"/>
  </p:notesMasterIdLst>
  <p:handoutMasterIdLst>
    <p:handoutMasterId r:id="rId22"/>
  </p:handoutMasterIdLst>
  <p:sldIdLst>
    <p:sldId id="446" r:id="rId7"/>
    <p:sldId id="451" r:id="rId8"/>
    <p:sldId id="497" r:id="rId9"/>
    <p:sldId id="505" r:id="rId10"/>
    <p:sldId id="495" r:id="rId11"/>
    <p:sldId id="500" r:id="rId12"/>
    <p:sldId id="510" r:id="rId13"/>
    <p:sldId id="501" r:id="rId14"/>
    <p:sldId id="502" r:id="rId15"/>
    <p:sldId id="506" r:id="rId16"/>
    <p:sldId id="507" r:id="rId17"/>
    <p:sldId id="508" r:id="rId18"/>
    <p:sldId id="509" r:id="rId19"/>
    <p:sldId id="467" r:id="rId20"/>
  </p:sldIdLst>
  <p:sldSz cx="12192000" cy="6858000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VACOVAKatarina1OSK" initials="osk10804" lastIdx="0" clrIdx="0">
    <p:extLst>
      <p:ext uri="{19B8F6BF-5375-455C-9EA6-DF929625EA0E}">
        <p15:presenceInfo xmlns:p15="http://schemas.microsoft.com/office/powerpoint/2012/main" userId="KOVACOVAKatarina1OSK" providerId="None"/>
      </p:ext>
    </p:extLst>
  </p:cmAuthor>
  <p:cmAuthor id="2" name="VACULAMartin" initials="vacula" lastIdx="24" clrIdx="1">
    <p:extLst>
      <p:ext uri="{19B8F6BF-5375-455C-9EA6-DF929625EA0E}">
        <p15:presenceInfo xmlns:p15="http://schemas.microsoft.com/office/powerpoint/2012/main" userId="VACULAMartin" providerId="None"/>
      </p:ext>
    </p:extLst>
  </p:cmAuthor>
  <p:cmAuthor id="3" name="TOTHPeter" initials="tothp" lastIdx="1" clrIdx="2">
    <p:extLst>
      <p:ext uri="{19B8F6BF-5375-455C-9EA6-DF929625EA0E}">
        <p15:presenceInfo xmlns:p15="http://schemas.microsoft.com/office/powerpoint/2012/main" userId="TOTHPet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66400"/>
    <a:srgbClr val="00E6AA"/>
    <a:srgbClr val="FF99CC"/>
    <a:srgbClr val="FFFF66"/>
    <a:srgbClr val="CC66FF"/>
    <a:srgbClr val="4AB5E5"/>
    <a:srgbClr val="00DEA4"/>
    <a:srgbClr val="CC99FF"/>
    <a:srgbClr val="6CCE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01" autoAdjust="0"/>
    <p:restoredTop sz="88901" autoAdjust="0"/>
  </p:normalViewPr>
  <p:slideViewPr>
    <p:cSldViewPr snapToGrid="0">
      <p:cViewPr varScale="1">
        <p:scale>
          <a:sx n="103" d="100"/>
          <a:sy n="103" d="100"/>
        </p:scale>
        <p:origin x="9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imple</c:v>
                </c:pt>
              </c:strCache>
            </c:strRef>
          </c:tx>
          <c:dPt>
            <c:idx val="0"/>
            <c:bubble3D val="0"/>
            <c:spPr>
              <a:solidFill>
                <a:srgbClr val="4BB4E6"/>
              </a:solidFill>
            </c:spPr>
          </c:dPt>
          <c:dPt>
            <c:idx val="1"/>
            <c:bubble3D val="0"/>
            <c:spPr>
              <a:solidFill>
                <a:srgbClr val="B5E8F7"/>
              </a:solidFill>
            </c:spPr>
          </c:dPt>
          <c:dPt>
            <c:idx val="2"/>
            <c:bubble3D val="0"/>
            <c:spPr>
              <a:solidFill>
                <a:srgbClr val="9164CD"/>
              </a:solidFill>
            </c:spPr>
          </c:dPt>
          <c:dPt>
            <c:idx val="3"/>
            <c:bubble3D val="0"/>
            <c:spPr>
              <a:solidFill>
                <a:srgbClr val="D9C2F0"/>
              </a:solidFill>
            </c:spPr>
          </c:dPt>
          <c:dPt>
            <c:idx val="4"/>
            <c:bubble3D val="0"/>
            <c:spPr>
              <a:solidFill>
                <a:srgbClr val="50BE87"/>
              </a:solidFill>
            </c:spPr>
          </c:dPt>
          <c:dPt>
            <c:idx val="5"/>
            <c:bubble3D val="0"/>
            <c:spPr>
              <a:solidFill>
                <a:srgbClr val="B8EBD6"/>
              </a:solidFill>
            </c:spPr>
          </c:dPt>
          <c:dPt>
            <c:idx val="6"/>
            <c:bubble3D val="0"/>
            <c:spPr>
              <a:solidFill>
                <a:srgbClr val="FFB4E6"/>
              </a:solidFill>
            </c:spPr>
          </c:dPt>
          <c:dLbls>
            <c:dLbl>
              <c:idx val="7"/>
              <c:tx>
                <c:rich>
                  <a:bodyPr/>
                  <a:lstStyle/>
                  <a:p>
                    <a:r>
                      <a:rPr lang="en-GB" sz="900" dirty="0">
                        <a:solidFill>
                          <a:schemeClr val="bg1"/>
                        </a:solidFill>
                        <a:latin typeface="Helvetica 75" panose="020B0804020202020204" pitchFamily="34" charset="0"/>
                      </a:rPr>
                      <a:t>11%</a:t>
                    </a:r>
                    <a:endParaRPr lang="en-GB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 Right tariff</c:v>
                </c:pt>
                <c:pt idx="1">
                  <c:v> Buzz</c:v>
                </c:pt>
                <c:pt idx="2">
                  <c:v> Relationship</c:v>
                </c:pt>
                <c:pt idx="3">
                  <c:v> Network</c:v>
                </c:pt>
                <c:pt idx="4">
                  <c:v> Pioneering</c:v>
                </c:pt>
                <c:pt idx="5">
                  <c:v> Unique</c:v>
                </c:pt>
                <c:pt idx="6">
                  <c:v> Handsets</c:v>
                </c:pt>
                <c:pt idx="7">
                  <c:v> Responsible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4</c:v>
                </c:pt>
                <c:pt idx="1">
                  <c:v>10</c:v>
                </c:pt>
                <c:pt idx="2">
                  <c:v>15</c:v>
                </c:pt>
                <c:pt idx="3">
                  <c:v>10</c:v>
                </c:pt>
                <c:pt idx="4">
                  <c:v>11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r"/>
      <c:overlay val="0"/>
      <c:txPr>
        <a:bodyPr/>
        <a:lstStyle/>
        <a:p>
          <a:pPr>
            <a:defRPr sz="900">
              <a:latin typeface="Helvetica 75" panose="020B08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668297396578137E-3"/>
          <c:y val="0.25755237412555537"/>
          <c:w val="0.58280474214639666"/>
          <c:h val="0.555420018019910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mplex</c:v>
                </c:pt>
              </c:strCache>
            </c:strRef>
          </c:tx>
          <c:dPt>
            <c:idx val="0"/>
            <c:bubble3D val="0"/>
            <c:spPr>
              <a:solidFill>
                <a:srgbClr val="085EBD"/>
              </a:solidFill>
            </c:spPr>
          </c:dPt>
          <c:dPt>
            <c:idx val="1"/>
            <c:bubble3D val="0"/>
            <c:spPr>
              <a:solidFill>
                <a:srgbClr val="4BB4E6"/>
              </a:solidFill>
            </c:spPr>
          </c:dPt>
          <c:dPt>
            <c:idx val="2"/>
            <c:bubble3D val="0"/>
            <c:spPr>
              <a:solidFill>
                <a:srgbClr val="B5E8F7"/>
              </a:solidFill>
            </c:spPr>
          </c:dPt>
          <c:dPt>
            <c:idx val="3"/>
            <c:bubble3D val="0"/>
            <c:spPr>
              <a:solidFill>
                <a:srgbClr val="492191"/>
              </a:solidFill>
            </c:spPr>
          </c:dPt>
          <c:dPt>
            <c:idx val="4"/>
            <c:bubble3D val="0"/>
            <c:spPr>
              <a:solidFill>
                <a:srgbClr val="9164CD"/>
              </a:solidFill>
            </c:spPr>
          </c:dPt>
          <c:dPt>
            <c:idx val="5"/>
            <c:bubble3D val="0"/>
            <c:spPr>
              <a:solidFill>
                <a:srgbClr val="D9C2F0"/>
              </a:solidFill>
            </c:spPr>
          </c:dPt>
          <c:dPt>
            <c:idx val="6"/>
            <c:bubble3D val="0"/>
            <c:spPr>
              <a:solidFill>
                <a:srgbClr val="50BE87"/>
              </a:solidFill>
            </c:spPr>
          </c:dPt>
          <c:dPt>
            <c:idx val="7"/>
            <c:bubble3D val="0"/>
            <c:spPr>
              <a:solidFill>
                <a:srgbClr val="B8EBD6"/>
              </a:solidFill>
            </c:spPr>
          </c:dPt>
          <c:dPt>
            <c:idx val="8"/>
            <c:bubble3D val="0"/>
            <c:spPr>
              <a:solidFill>
                <a:srgbClr val="FFB4E6"/>
              </a:solidFill>
            </c:spPr>
          </c:dPt>
          <c:dPt>
            <c:idx val="9"/>
            <c:bubble3D val="0"/>
            <c:spPr>
              <a:solidFill>
                <a:srgbClr val="FFE8F7"/>
              </a:solidFill>
            </c:spPr>
          </c:dPt>
          <c:dPt>
            <c:idx val="10"/>
            <c:bubble3D val="0"/>
            <c:spPr>
              <a:solidFill>
                <a:srgbClr val="8F8F8F"/>
              </a:solidFill>
            </c:spPr>
          </c:dPt>
          <c:dPt>
            <c:idx val="11"/>
            <c:bubble3D val="0"/>
            <c:spPr>
              <a:solidFill>
                <a:srgbClr val="D6D6D6"/>
              </a:solidFill>
            </c:spPr>
          </c:dPt>
          <c:dPt>
            <c:idx val="12"/>
            <c:bubble3D val="0"/>
            <c:spPr>
              <a:solidFill>
                <a:srgbClr val="FFB400"/>
              </a:solidFill>
            </c:spPr>
          </c:dPt>
          <c:dPt>
            <c:idx val="13"/>
            <c:bubble3D val="0"/>
            <c:spPr>
              <a:solidFill>
                <a:srgbClr val="FFDC00"/>
              </a:solidFill>
            </c:spPr>
          </c:dPt>
          <c:dLbls>
            <c:dLbl>
              <c:idx val="7"/>
              <c:tx>
                <c:rich>
                  <a:bodyPr/>
                  <a:lstStyle/>
                  <a:p>
                    <a:r>
                      <a:rPr lang="en-GB" sz="900" dirty="0">
                        <a:solidFill>
                          <a:schemeClr val="bg1"/>
                        </a:solidFill>
                      </a:rPr>
                      <a:t>11%</a:t>
                    </a:r>
                    <a:endParaRPr lang="en-GB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5</c:f>
              <c:strCache>
                <c:ptCount val="14"/>
                <c:pt idx="0">
                  <c:v> France</c:v>
                </c:pt>
                <c:pt idx="1">
                  <c:v> Poland</c:v>
                </c:pt>
                <c:pt idx="2">
                  <c:v> Spain</c:v>
                </c:pt>
                <c:pt idx="3">
                  <c:v> Romania</c:v>
                </c:pt>
                <c:pt idx="4">
                  <c:v> Slovakia</c:v>
                </c:pt>
                <c:pt idx="5">
                  <c:v> Moldova</c:v>
                </c:pt>
                <c:pt idx="6">
                  <c:v> Armenia</c:v>
                </c:pt>
                <c:pt idx="7">
                  <c:v> Luxembourg</c:v>
                </c:pt>
                <c:pt idx="8">
                  <c:v> Belgium</c:v>
                </c:pt>
                <c:pt idx="9">
                  <c:v> Germany</c:v>
                </c:pt>
                <c:pt idx="10">
                  <c:v> Portugal</c:v>
                </c:pt>
                <c:pt idx="11">
                  <c:v> Switzerland</c:v>
                </c:pt>
                <c:pt idx="12">
                  <c:v> Republic of Ireland</c:v>
                </c:pt>
                <c:pt idx="13">
                  <c:v> UK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5</c:v>
                </c:pt>
                <c:pt idx="1">
                  <c:v>15</c:v>
                </c:pt>
                <c:pt idx="2">
                  <c:v>10</c:v>
                </c:pt>
                <c:pt idx="3">
                  <c:v>5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7</c:v>
                </c:pt>
                <c:pt idx="8">
                  <c:v>13</c:v>
                </c:pt>
                <c:pt idx="9">
                  <c:v>5</c:v>
                </c:pt>
                <c:pt idx="10">
                  <c:v>7</c:v>
                </c:pt>
                <c:pt idx="11">
                  <c:v>3</c:v>
                </c:pt>
                <c:pt idx="12">
                  <c:v>6</c:v>
                </c:pt>
                <c:pt idx="1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6701328781856895"/>
          <c:y val="0.18483065032256751"/>
          <c:w val="0.30831939322279978"/>
          <c:h val="0.72437172104956027"/>
        </c:manualLayout>
      </c:layout>
      <c:overlay val="0"/>
      <c:txPr>
        <a:bodyPr/>
        <a:lstStyle/>
        <a:p>
          <a:pPr>
            <a:defRPr sz="900">
              <a:latin typeface="Helvetica 75" panose="020B08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mple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F6600"/>
              </a:solidFill>
            </c:spPr>
          </c:dPt>
          <c:dPt>
            <c:idx val="1"/>
            <c:invertIfNegative val="0"/>
            <c:bubble3D val="0"/>
            <c:spPr>
              <a:solidFill>
                <a:srgbClr val="095EBD"/>
              </a:solidFill>
            </c:spPr>
          </c:dPt>
          <c:dPt>
            <c:idx val="2"/>
            <c:invertIfNegative val="0"/>
            <c:bubble3D val="0"/>
            <c:spPr>
              <a:solidFill>
                <a:srgbClr val="9164CD"/>
              </a:solidFill>
            </c:spPr>
          </c:dPt>
          <c:dPt>
            <c:idx val="3"/>
            <c:invertIfNegative val="0"/>
            <c:bubble3D val="0"/>
            <c:spPr>
              <a:solidFill>
                <a:srgbClr val="8F8F8F"/>
              </a:solidFill>
            </c:spPr>
          </c:dPt>
          <c:dPt>
            <c:idx val="4"/>
            <c:invertIfNegative val="0"/>
            <c:bubble3D val="0"/>
            <c:spPr>
              <a:solidFill>
                <a:srgbClr val="FFB4E6"/>
              </a:solidFill>
            </c:spPr>
          </c:dPt>
          <c:dPt>
            <c:idx val="5"/>
            <c:invertIfNegative val="0"/>
            <c:bubble3D val="0"/>
            <c:spPr>
              <a:solidFill>
                <a:srgbClr val="50BE87"/>
              </a:solidFill>
            </c:spPr>
          </c:dPt>
          <c:dPt>
            <c:idx val="6"/>
            <c:invertIfNegative val="0"/>
            <c:bubble3D val="0"/>
            <c:spPr>
              <a:solidFill>
                <a:srgbClr val="595959"/>
              </a:solidFill>
            </c:spPr>
          </c:dPt>
          <c:dPt>
            <c:idx val="7"/>
            <c:invertIfNegative val="0"/>
            <c:bubble3D val="0"/>
            <c:spPr>
              <a:solidFill>
                <a:srgbClr val="4BB4E6"/>
              </a:solidFill>
            </c:spPr>
          </c:dPt>
          <c:dPt>
            <c:idx val="8"/>
            <c:invertIfNegative val="0"/>
            <c:bubble3D val="0"/>
            <c:spPr>
              <a:solidFill>
                <a:srgbClr val="FFB400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 Right tariff</c:v>
                </c:pt>
                <c:pt idx="1">
                  <c:v> Buzz</c:v>
                </c:pt>
                <c:pt idx="2">
                  <c:v> Relationship</c:v>
                </c:pt>
                <c:pt idx="3">
                  <c:v> Rewards</c:v>
                </c:pt>
                <c:pt idx="4">
                  <c:v> Network</c:v>
                </c:pt>
                <c:pt idx="5">
                  <c:v> Pioneering</c:v>
                </c:pt>
                <c:pt idx="6">
                  <c:v> Unique</c:v>
                </c:pt>
                <c:pt idx="7">
                  <c:v> Handsets</c:v>
                </c:pt>
                <c:pt idx="8">
                  <c:v> Responsible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19</c:v>
                </c:pt>
                <c:pt idx="1">
                  <c:v>0.1</c:v>
                </c:pt>
                <c:pt idx="2">
                  <c:v>0.14000000000000001</c:v>
                </c:pt>
                <c:pt idx="3">
                  <c:v>0.11</c:v>
                </c:pt>
                <c:pt idx="4">
                  <c:v>0.11</c:v>
                </c:pt>
                <c:pt idx="5">
                  <c:v>0.08</c:v>
                </c:pt>
                <c:pt idx="6">
                  <c:v>0.09</c:v>
                </c:pt>
                <c:pt idx="7">
                  <c:v>0.09</c:v>
                </c:pt>
                <c:pt idx="8">
                  <c:v>0.0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F6600"/>
              </a:solidFill>
            </c:spPr>
          </c:dPt>
          <c:dPt>
            <c:idx val="1"/>
            <c:invertIfNegative val="0"/>
            <c:bubble3D val="0"/>
            <c:spPr>
              <a:solidFill>
                <a:srgbClr val="095EBD"/>
              </a:solidFill>
            </c:spPr>
          </c:dPt>
          <c:dPt>
            <c:idx val="2"/>
            <c:invertIfNegative val="0"/>
            <c:bubble3D val="0"/>
            <c:spPr>
              <a:solidFill>
                <a:srgbClr val="9164CD"/>
              </a:solidFill>
            </c:spPr>
          </c:dPt>
          <c:dPt>
            <c:idx val="3"/>
            <c:invertIfNegative val="0"/>
            <c:bubble3D val="0"/>
            <c:spPr>
              <a:solidFill>
                <a:srgbClr val="8F8F8F"/>
              </a:solidFill>
            </c:spPr>
          </c:dPt>
          <c:dPt>
            <c:idx val="4"/>
            <c:invertIfNegative val="0"/>
            <c:bubble3D val="0"/>
            <c:spPr>
              <a:solidFill>
                <a:srgbClr val="FFB4E6"/>
              </a:solidFill>
            </c:spPr>
          </c:dPt>
          <c:dPt>
            <c:idx val="5"/>
            <c:invertIfNegative val="0"/>
            <c:bubble3D val="0"/>
            <c:spPr>
              <a:solidFill>
                <a:srgbClr val="50BE87"/>
              </a:solidFill>
            </c:spPr>
          </c:dPt>
          <c:dPt>
            <c:idx val="6"/>
            <c:invertIfNegative val="0"/>
            <c:bubble3D val="0"/>
            <c:spPr>
              <a:solidFill>
                <a:srgbClr val="595959"/>
              </a:solidFill>
            </c:spPr>
          </c:dPt>
          <c:dPt>
            <c:idx val="7"/>
            <c:invertIfNegative val="0"/>
            <c:bubble3D val="0"/>
            <c:spPr>
              <a:solidFill>
                <a:srgbClr val="4BB4E6"/>
              </a:solidFill>
            </c:spPr>
          </c:dPt>
          <c:dPt>
            <c:idx val="8"/>
            <c:invertIfNegative val="0"/>
            <c:bubble3D val="0"/>
            <c:spPr>
              <a:solidFill>
                <a:srgbClr val="FFB400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 Right tariff</c:v>
                </c:pt>
                <c:pt idx="1">
                  <c:v> Buzz</c:v>
                </c:pt>
                <c:pt idx="2">
                  <c:v> Relationship</c:v>
                </c:pt>
                <c:pt idx="3">
                  <c:v> Rewards</c:v>
                </c:pt>
                <c:pt idx="4">
                  <c:v> Network</c:v>
                </c:pt>
                <c:pt idx="5">
                  <c:v> Pioneering</c:v>
                </c:pt>
                <c:pt idx="6">
                  <c:v> Unique</c:v>
                </c:pt>
                <c:pt idx="7">
                  <c:v> Handsets</c:v>
                </c:pt>
                <c:pt idx="8">
                  <c:v> Responsible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1</c:v>
                </c:pt>
                <c:pt idx="1">
                  <c:v>0.1</c:v>
                </c:pt>
                <c:pt idx="2">
                  <c:v>0.15</c:v>
                </c:pt>
                <c:pt idx="3">
                  <c:v>0.1</c:v>
                </c:pt>
                <c:pt idx="4">
                  <c:v>0.11</c:v>
                </c:pt>
                <c:pt idx="5">
                  <c:v>0.08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12"/>
        <c:axId val="190240264"/>
        <c:axId val="190240656"/>
      </c:barChart>
      <c:catAx>
        <c:axId val="1902402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6350">
            <a:solidFill>
              <a:srgbClr val="595959"/>
            </a:solidFill>
          </a:ln>
        </c:spPr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0240656"/>
        <c:crosses val="autoZero"/>
        <c:auto val="1"/>
        <c:lblAlgn val="ctr"/>
        <c:lblOffset val="100"/>
        <c:noMultiLvlLbl val="0"/>
      </c:catAx>
      <c:valAx>
        <c:axId val="190240656"/>
        <c:scaling>
          <c:orientation val="minMax"/>
        </c:scaling>
        <c:delete val="0"/>
        <c:axPos val="l"/>
        <c:majorGridlines>
          <c:spPr>
            <a:ln w="6350">
              <a:solidFill>
                <a:srgbClr val="595959"/>
              </a:solidFill>
            </a:ln>
          </c:spPr>
        </c:majorGridlines>
        <c:numFmt formatCode="0%" sourceLinked="1"/>
        <c:majorTickMark val="out"/>
        <c:minorTickMark val="none"/>
        <c:tickLblPos val="nextTo"/>
        <c:spPr>
          <a:ln w="6350">
            <a:solidFill>
              <a:schemeClr val="bg1">
                <a:lumMod val="75000"/>
                <a:lumOff val="25000"/>
              </a:schemeClr>
            </a:solidFill>
          </a:ln>
        </c:spPr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0240264"/>
        <c:crosses val="autoZero"/>
        <c:crossBetween val="between"/>
      </c:valAx>
      <c:spPr>
        <a:noFill/>
        <a:ln>
          <a:solidFill>
            <a:srgbClr val="595959"/>
          </a:solidFill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Right tariff</c:v>
                </c:pt>
              </c:strCache>
            </c:strRef>
          </c:tx>
          <c:spPr>
            <a:solidFill>
              <a:srgbClr val="4BB4E6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22500000000000001</c:v>
                </c:pt>
                <c:pt idx="1">
                  <c:v>0.192</c:v>
                </c:pt>
                <c:pt idx="2">
                  <c:v>0.20800000000000002</c:v>
                </c:pt>
                <c:pt idx="3">
                  <c:v>0.20100000000000001</c:v>
                </c:pt>
                <c:pt idx="4">
                  <c:v>0.19600000000000001</c:v>
                </c:pt>
                <c:pt idx="5">
                  <c:v>0.14599999999999999</c:v>
                </c:pt>
                <c:pt idx="6">
                  <c:v>0.127</c:v>
                </c:pt>
                <c:pt idx="7">
                  <c:v>0.1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Buzz</c:v>
                </c:pt>
              </c:strCache>
            </c:strRef>
          </c:tx>
          <c:spPr>
            <a:solidFill>
              <a:srgbClr val="B5E8F7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Helvetica 75" panose="020B0804020202020204" pitchFamily="34" charset="0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13200000000000001</c:v>
                </c:pt>
                <c:pt idx="1">
                  <c:v>9.8000000000000004E-2</c:v>
                </c:pt>
                <c:pt idx="2">
                  <c:v>8.5000000000000006E-2</c:v>
                </c:pt>
                <c:pt idx="3">
                  <c:v>8.8000000000000009E-2</c:v>
                </c:pt>
                <c:pt idx="4">
                  <c:v>7.9000000000000001E-2</c:v>
                </c:pt>
                <c:pt idx="5">
                  <c:v>0.10800000000000001</c:v>
                </c:pt>
                <c:pt idx="6">
                  <c:v>0.107</c:v>
                </c:pt>
                <c:pt idx="7">
                  <c:v>0.1030000000000000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Relationship</c:v>
                </c:pt>
              </c:strCache>
            </c:strRef>
          </c:tx>
          <c:spPr>
            <a:solidFill>
              <a:srgbClr val="9164C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0">
                  <c:v>0.13200000000000001</c:v>
                </c:pt>
                <c:pt idx="1">
                  <c:v>0.17199999999999999</c:v>
                </c:pt>
                <c:pt idx="2">
                  <c:v>0.127</c:v>
                </c:pt>
                <c:pt idx="3">
                  <c:v>0.128</c:v>
                </c:pt>
                <c:pt idx="4">
                  <c:v>0.16500000000000001</c:v>
                </c:pt>
                <c:pt idx="5">
                  <c:v>0.13600000000000001</c:v>
                </c:pt>
                <c:pt idx="6">
                  <c:v>0.13600000000000001</c:v>
                </c:pt>
                <c:pt idx="7">
                  <c:v>0.13100000000000001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Rewards</c:v>
                </c:pt>
              </c:strCache>
            </c:strRef>
          </c:tx>
          <c:spPr>
            <a:solidFill>
              <a:srgbClr val="D9C2F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E$2:$E$9</c:f>
              <c:numCache>
                <c:formatCode>0%</c:formatCode>
                <c:ptCount val="8"/>
                <c:pt idx="0">
                  <c:v>0.11800000000000001</c:v>
                </c:pt>
                <c:pt idx="1">
                  <c:v>5.7000000000000002E-2</c:v>
                </c:pt>
                <c:pt idx="2">
                  <c:v>0.107</c:v>
                </c:pt>
                <c:pt idx="3">
                  <c:v>0.13900000000000001</c:v>
                </c:pt>
                <c:pt idx="4">
                  <c:v>0.115</c:v>
                </c:pt>
                <c:pt idx="5">
                  <c:v>0.114</c:v>
                </c:pt>
                <c:pt idx="6">
                  <c:v>0.114</c:v>
                </c:pt>
                <c:pt idx="7">
                  <c:v>0.09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 Network</c:v>
                </c:pt>
              </c:strCache>
            </c:strRef>
          </c:tx>
          <c:spPr>
            <a:solidFill>
              <a:srgbClr val="50BE87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F$2:$F$9</c:f>
              <c:numCache>
                <c:formatCode>0%</c:formatCode>
                <c:ptCount val="8"/>
                <c:pt idx="0">
                  <c:v>0.10800000000000001</c:v>
                </c:pt>
                <c:pt idx="1">
                  <c:v>9.5000000000000001E-2</c:v>
                </c:pt>
                <c:pt idx="2">
                  <c:v>0.16699999999999998</c:v>
                </c:pt>
                <c:pt idx="3">
                  <c:v>6.0999999999999999E-2</c:v>
                </c:pt>
                <c:pt idx="4">
                  <c:v>9.0999999999999998E-2</c:v>
                </c:pt>
                <c:pt idx="5">
                  <c:v>7.0000000000000007E-2</c:v>
                </c:pt>
                <c:pt idx="6">
                  <c:v>0.14199999999999999</c:v>
                </c:pt>
                <c:pt idx="7">
                  <c:v>0.158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 Pioneering</c:v>
                </c:pt>
              </c:strCache>
            </c:strRef>
          </c:tx>
          <c:spPr>
            <a:solidFill>
              <a:srgbClr val="B8EBD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G$2:$G$9</c:f>
              <c:numCache>
                <c:formatCode>0%</c:formatCode>
                <c:ptCount val="8"/>
                <c:pt idx="0">
                  <c:v>8.199999999999999E-2</c:v>
                </c:pt>
                <c:pt idx="1">
                  <c:v>8.199999999999999E-2</c:v>
                </c:pt>
                <c:pt idx="2">
                  <c:v>0.10400000000000001</c:v>
                </c:pt>
                <c:pt idx="3">
                  <c:v>7.5999999999999998E-2</c:v>
                </c:pt>
                <c:pt idx="4">
                  <c:v>6.2E-2</c:v>
                </c:pt>
                <c:pt idx="5">
                  <c:v>6.4000000000000001E-2</c:v>
                </c:pt>
                <c:pt idx="6">
                  <c:v>0.11900000000000001</c:v>
                </c:pt>
                <c:pt idx="7">
                  <c:v>0.122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 Unique</c:v>
                </c:pt>
              </c:strCache>
            </c:strRef>
          </c:tx>
          <c:spPr>
            <a:solidFill>
              <a:srgbClr val="FFB4E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H$2:$H$9</c:f>
              <c:numCache>
                <c:formatCode>0%</c:formatCode>
                <c:ptCount val="8"/>
                <c:pt idx="0">
                  <c:v>8.199999999999999E-2</c:v>
                </c:pt>
                <c:pt idx="1">
                  <c:v>8.4000000000000005E-2</c:v>
                </c:pt>
                <c:pt idx="2">
                  <c:v>5.9000000000000004E-2</c:v>
                </c:pt>
                <c:pt idx="3">
                  <c:v>0.106</c:v>
                </c:pt>
                <c:pt idx="4">
                  <c:v>9.0999999999999998E-2</c:v>
                </c:pt>
                <c:pt idx="5">
                  <c:v>0.125</c:v>
                </c:pt>
                <c:pt idx="6">
                  <c:v>7.6999999999999999E-2</c:v>
                </c:pt>
                <c:pt idx="7">
                  <c:v>0.04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 Handsets</c:v>
                </c:pt>
              </c:strCache>
            </c:strRef>
          </c:tx>
          <c:spPr>
            <a:solidFill>
              <a:srgbClr val="FFDC00"/>
            </a:solidFill>
          </c:spPr>
          <c:invertIfNegative val="0"/>
          <c:dLbls>
            <c:spPr>
              <a:noFill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I$2:$I$9</c:f>
              <c:numCache>
                <c:formatCode>0%</c:formatCode>
                <c:ptCount val="8"/>
                <c:pt idx="0">
                  <c:v>7.0000000000000007E-2</c:v>
                </c:pt>
                <c:pt idx="1">
                  <c:v>0.11699999999999999</c:v>
                </c:pt>
                <c:pt idx="2">
                  <c:v>6.2E-2</c:v>
                </c:pt>
                <c:pt idx="3">
                  <c:v>0.111</c:v>
                </c:pt>
                <c:pt idx="4">
                  <c:v>0.10800000000000001</c:v>
                </c:pt>
                <c:pt idx="5">
                  <c:v>0.109</c:v>
                </c:pt>
                <c:pt idx="6">
                  <c:v>5.5999999999999994E-2</c:v>
                </c:pt>
                <c:pt idx="7">
                  <c:v>8.900000000000001E-2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 Responsible</c:v>
                </c:pt>
              </c:strCache>
            </c:strRef>
          </c:tx>
          <c:spPr>
            <a:solidFill>
              <a:srgbClr val="FFF6B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France</c:v>
                </c:pt>
                <c:pt idx="1">
                  <c:v>Poland</c:v>
                </c:pt>
                <c:pt idx="2">
                  <c:v>Spain</c:v>
                </c:pt>
                <c:pt idx="3">
                  <c:v>Romania</c:v>
                </c:pt>
                <c:pt idx="4">
                  <c:v>Slovakia</c:v>
                </c:pt>
                <c:pt idx="5">
                  <c:v>Moldova</c:v>
                </c:pt>
                <c:pt idx="6">
                  <c:v>Armenia</c:v>
                </c:pt>
                <c:pt idx="7">
                  <c:v>Luxembourg</c:v>
                </c:pt>
              </c:strCache>
            </c:strRef>
          </c:cat>
          <c:val>
            <c:numRef>
              <c:f>Sheet1!$J$2:$J$9</c:f>
              <c:numCache>
                <c:formatCode>0%</c:formatCode>
                <c:ptCount val="8"/>
                <c:pt idx="0">
                  <c:v>4.9000000000000002E-2</c:v>
                </c:pt>
                <c:pt idx="1">
                  <c:v>0.10400000000000001</c:v>
                </c:pt>
                <c:pt idx="2">
                  <c:v>8.1000000000000003E-2</c:v>
                </c:pt>
                <c:pt idx="3">
                  <c:v>9.0999999999999998E-2</c:v>
                </c:pt>
                <c:pt idx="4">
                  <c:v>9.1999999999999998E-2</c:v>
                </c:pt>
                <c:pt idx="5">
                  <c:v>0.13</c:v>
                </c:pt>
                <c:pt idx="6">
                  <c:v>9.3000000000000013E-2</c:v>
                </c:pt>
                <c:pt idx="7">
                  <c:v>9.8000000000000004E-2</c:v>
                </c:pt>
              </c:numCache>
            </c:numRef>
          </c:val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190241440"/>
        <c:axId val="190241832"/>
      </c:barChart>
      <c:dateAx>
        <c:axId val="19024144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6350">
            <a:solidFill>
              <a:srgbClr val="595959"/>
            </a:solidFill>
          </a:ln>
        </c:spPr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0241832"/>
        <c:crosses val="autoZero"/>
        <c:auto val="0"/>
        <c:lblOffset val="100"/>
        <c:baseTimeUnit val="days"/>
      </c:dateAx>
      <c:valAx>
        <c:axId val="190241832"/>
        <c:scaling>
          <c:orientation val="minMax"/>
        </c:scaling>
        <c:delete val="1"/>
        <c:axPos val="t"/>
        <c:majorGridlines>
          <c:spPr>
            <a:ln w="6350">
              <a:solidFill>
                <a:srgbClr val="595959"/>
              </a:solidFill>
            </a:ln>
          </c:spPr>
        </c:majorGridlines>
        <c:numFmt formatCode="0%" sourceLinked="1"/>
        <c:majorTickMark val="out"/>
        <c:minorTickMark val="none"/>
        <c:tickLblPos val="nextTo"/>
        <c:crossAx val="190241440"/>
        <c:crosses val="autoZero"/>
        <c:crossBetween val="between"/>
      </c:valAx>
      <c:spPr>
        <a:noFill/>
      </c:spPr>
    </c:plotArea>
    <c:legend>
      <c:legendPos val="r"/>
      <c:overlay val="0"/>
      <c:txPr>
        <a:bodyPr/>
        <a:lstStyle/>
        <a:p>
          <a:pPr>
            <a:defRPr sz="900">
              <a:latin typeface="Helvetica 75" panose="020B08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mple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BB4E6"/>
              </a:solidFill>
              <a:ln>
                <a:noFill/>
              </a:ln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Orange</c:v>
                </c:pt>
                <c:pt idx="1">
                  <c:v>Tunisie Telecom</c:v>
                </c:pt>
                <c:pt idx="2">
                  <c:v>Tunisiana</c:v>
                </c:pt>
                <c:pt idx="3">
                  <c:v>Elissa Telecom</c:v>
                </c:pt>
                <c:pt idx="4">
                  <c:v>Topnet</c:v>
                </c:pt>
                <c:pt idx="5">
                  <c:v>Planet</c:v>
                </c:pt>
                <c:pt idx="6">
                  <c:v>GlobalNet</c:v>
                </c:pt>
                <c:pt idx="7">
                  <c:v>HexaByte</c:v>
                </c:pt>
                <c:pt idx="8">
                  <c:v>Tunet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39</c:v>
                </c:pt>
                <c:pt idx="1">
                  <c:v>0.43</c:v>
                </c:pt>
                <c:pt idx="2">
                  <c:v>0.46</c:v>
                </c:pt>
                <c:pt idx="3">
                  <c:v>0.24</c:v>
                </c:pt>
                <c:pt idx="4">
                  <c:v>0.5</c:v>
                </c:pt>
                <c:pt idx="5">
                  <c:v>0.28999999999999998</c:v>
                </c:pt>
                <c:pt idx="6">
                  <c:v>0.23</c:v>
                </c:pt>
                <c:pt idx="7">
                  <c:v>0.34</c:v>
                </c:pt>
                <c:pt idx="8">
                  <c:v>0.2800000000000000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4BB4E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Orange</c:v>
                </c:pt>
                <c:pt idx="1">
                  <c:v>Tunisie Telecom</c:v>
                </c:pt>
                <c:pt idx="2">
                  <c:v>Tunisiana</c:v>
                </c:pt>
                <c:pt idx="3">
                  <c:v>Elissa Telecom</c:v>
                </c:pt>
                <c:pt idx="4">
                  <c:v>Topnet</c:v>
                </c:pt>
                <c:pt idx="5">
                  <c:v>Planet</c:v>
                </c:pt>
                <c:pt idx="6">
                  <c:v>GlobalNet</c:v>
                </c:pt>
                <c:pt idx="7">
                  <c:v>HexaByte</c:v>
                </c:pt>
                <c:pt idx="8">
                  <c:v>Tunet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1">
                  <c:v>0.98</c:v>
                </c:pt>
                <c:pt idx="2">
                  <c:v>0.84</c:v>
                </c:pt>
                <c:pt idx="3">
                  <c:v>0.78</c:v>
                </c:pt>
                <c:pt idx="4">
                  <c:v>0.72</c:v>
                </c:pt>
                <c:pt idx="5">
                  <c:v>0.65</c:v>
                </c:pt>
                <c:pt idx="6">
                  <c:v>0.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1363680"/>
        <c:axId val="191364072"/>
      </c:barChart>
      <c:catAx>
        <c:axId val="1913636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1364072"/>
        <c:crosses val="autoZero"/>
        <c:auto val="1"/>
        <c:lblAlgn val="ctr"/>
        <c:lblOffset val="100"/>
        <c:noMultiLvlLbl val="0"/>
      </c:catAx>
      <c:valAx>
        <c:axId val="19136407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13636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imple</c:v>
                </c:pt>
              </c:strCache>
            </c:strRef>
          </c:tx>
          <c:spPr>
            <a:solidFill>
              <a:srgbClr val="085EBD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Orange</c:v>
                </c:pt>
                <c:pt idx="1">
                  <c:v>Tunisie Telecom</c:v>
                </c:pt>
                <c:pt idx="2">
                  <c:v>Tunisiana</c:v>
                </c:pt>
                <c:pt idx="3">
                  <c:v>Elissa Telecom</c:v>
                </c:pt>
                <c:pt idx="4">
                  <c:v>Topnet</c:v>
                </c:pt>
                <c:pt idx="5">
                  <c:v>Planet</c:v>
                </c:pt>
                <c:pt idx="6">
                  <c:v>GlobalNet</c:v>
                </c:pt>
                <c:pt idx="7">
                  <c:v>HexaByte</c:v>
                </c:pt>
                <c:pt idx="8">
                  <c:v>Tunet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39</c:v>
                </c:pt>
                <c:pt idx="1">
                  <c:v>0.43</c:v>
                </c:pt>
                <c:pt idx="2">
                  <c:v>0.46</c:v>
                </c:pt>
                <c:pt idx="3">
                  <c:v>0.24</c:v>
                </c:pt>
                <c:pt idx="4">
                  <c:v>0.5</c:v>
                </c:pt>
                <c:pt idx="5">
                  <c:v>0.28999999999999998</c:v>
                </c:pt>
                <c:pt idx="6">
                  <c:v>0.23</c:v>
                </c:pt>
                <c:pt idx="7">
                  <c:v>0.34</c:v>
                </c:pt>
                <c:pt idx="8">
                  <c:v>0.2800000000000000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4BB4E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Orange</c:v>
                </c:pt>
                <c:pt idx="1">
                  <c:v>Tunisie Telecom</c:v>
                </c:pt>
                <c:pt idx="2">
                  <c:v>Tunisiana</c:v>
                </c:pt>
                <c:pt idx="3">
                  <c:v>Elissa Telecom</c:v>
                </c:pt>
                <c:pt idx="4">
                  <c:v>Topnet</c:v>
                </c:pt>
                <c:pt idx="5">
                  <c:v>Planet</c:v>
                </c:pt>
                <c:pt idx="6">
                  <c:v>GlobalNet</c:v>
                </c:pt>
                <c:pt idx="7">
                  <c:v>HexaByte</c:v>
                </c:pt>
                <c:pt idx="8">
                  <c:v>Tunet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1">
                  <c:v>0.98</c:v>
                </c:pt>
                <c:pt idx="2">
                  <c:v>0.84</c:v>
                </c:pt>
                <c:pt idx="3">
                  <c:v>0.78</c:v>
                </c:pt>
                <c:pt idx="4">
                  <c:v>0.72</c:v>
                </c:pt>
                <c:pt idx="5">
                  <c:v>0.65</c:v>
                </c:pt>
                <c:pt idx="6">
                  <c:v>0.4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B5E8F7"/>
            </a:solidFill>
          </c:spPr>
          <c:invertIfNegative val="0"/>
          <c:cat>
            <c:strRef>
              <c:f>Sheet1!$A$2:$A$10</c:f>
              <c:strCache>
                <c:ptCount val="9"/>
                <c:pt idx="0">
                  <c:v>Orange</c:v>
                </c:pt>
                <c:pt idx="1">
                  <c:v>Tunisie Telecom</c:v>
                </c:pt>
                <c:pt idx="2">
                  <c:v>Tunisiana</c:v>
                </c:pt>
                <c:pt idx="3">
                  <c:v>Elissa Telecom</c:v>
                </c:pt>
                <c:pt idx="4">
                  <c:v>Topnet</c:v>
                </c:pt>
                <c:pt idx="5">
                  <c:v>Planet</c:v>
                </c:pt>
                <c:pt idx="6">
                  <c:v>GlobalNet</c:v>
                </c:pt>
                <c:pt idx="7">
                  <c:v>HexaByte</c:v>
                </c:pt>
                <c:pt idx="8">
                  <c:v>Tunet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1">
                  <c:v>0.46</c:v>
                </c:pt>
                <c:pt idx="2">
                  <c:v>0.27</c:v>
                </c:pt>
                <c:pt idx="4">
                  <c:v>0.25</c:v>
                </c:pt>
                <c:pt idx="5">
                  <c:v>0.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1364856"/>
        <c:axId val="191365248"/>
      </c:barChart>
      <c:catAx>
        <c:axId val="1913648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1365248"/>
        <c:crosses val="autoZero"/>
        <c:auto val="1"/>
        <c:lblAlgn val="ctr"/>
        <c:lblOffset val="100"/>
        <c:noMultiLvlLbl val="0"/>
      </c:catAx>
      <c:valAx>
        <c:axId val="19136524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13648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Brand momentum</c:v>
                </c:pt>
              </c:strCache>
            </c:strRef>
          </c:tx>
          <c:spPr>
            <a:ln>
              <a:solidFill>
                <a:srgbClr val="FF6600"/>
              </a:solidFill>
            </a:ln>
          </c:spPr>
          <c:marker>
            <c:symbol val="none"/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pPr>
                      <a:defRPr sz="1000">
                        <a:solidFill>
                          <a:schemeClr val="tx1"/>
                        </a:solidFill>
                        <a:latin typeface="Helvetica 75" panose="020B0804020202020204" pitchFamily="34" charset="0"/>
                      </a:defRPr>
                    </a:pPr>
                    <a:r>
                      <a:rPr lang="en-US" dirty="0">
                        <a:solidFill>
                          <a:srgbClr val="FF6600"/>
                        </a:solidFill>
                      </a:rPr>
                      <a:t>30</a:t>
                    </a:r>
                  </a:p>
                </c:rich>
              </c:tx>
              <c:spPr>
                <a:noFill/>
                <a:ln w="6350" cap="rnd">
                  <a:round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ay</c:v>
                </c:pt>
                <c:pt idx="1">
                  <c:v>June</c:v>
                </c:pt>
                <c:pt idx="2">
                  <c:v>July</c:v>
                </c:pt>
                <c:pt idx="3">
                  <c:v>August</c:v>
                </c:pt>
                <c:pt idx="4">
                  <c:v>September</c:v>
                </c:pt>
                <c:pt idx="5">
                  <c:v>October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9</c:v>
                </c:pt>
                <c:pt idx="1">
                  <c:v>8</c:v>
                </c:pt>
                <c:pt idx="2">
                  <c:v>18</c:v>
                </c:pt>
                <c:pt idx="3">
                  <c:v>22</c:v>
                </c:pt>
                <c:pt idx="4">
                  <c:v>23</c:v>
                </c:pt>
                <c:pt idx="5">
                  <c:v>3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Brand consideration</c:v>
                </c:pt>
              </c:strCache>
            </c:strRef>
          </c:tx>
          <c:spPr>
            <a:ln>
              <a:solidFill>
                <a:srgbClr val="9164CD"/>
              </a:solidFill>
            </a:ln>
          </c:spPr>
          <c:marker>
            <c:symbol val="none"/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9164CD"/>
                        </a:solidFill>
                      </a:rPr>
                      <a:t>1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ay</c:v>
                </c:pt>
                <c:pt idx="1">
                  <c:v>June</c:v>
                </c:pt>
                <c:pt idx="2">
                  <c:v>July</c:v>
                </c:pt>
                <c:pt idx="3">
                  <c:v>August</c:v>
                </c:pt>
                <c:pt idx="4">
                  <c:v>September</c:v>
                </c:pt>
                <c:pt idx="5">
                  <c:v>October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18</c:v>
                </c:pt>
                <c:pt idx="5">
                  <c:v>1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Spontaneous awareness</c:v>
                </c:pt>
              </c:strCache>
            </c:strRef>
          </c:tx>
          <c:spPr>
            <a:ln>
              <a:solidFill>
                <a:srgbClr val="FFB4E6"/>
              </a:solidFill>
            </a:ln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FFB4E6"/>
                        </a:solidFill>
                      </a:rPr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ay</c:v>
                </c:pt>
                <c:pt idx="1">
                  <c:v>June</c:v>
                </c:pt>
                <c:pt idx="2">
                  <c:v>July</c:v>
                </c:pt>
                <c:pt idx="3">
                  <c:v>August</c:v>
                </c:pt>
                <c:pt idx="4">
                  <c:v>September</c:v>
                </c:pt>
                <c:pt idx="5">
                  <c:v>October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Top of mind awareness</c:v>
                </c:pt>
              </c:strCache>
            </c:strRef>
          </c:tx>
          <c:spPr>
            <a:ln>
              <a:solidFill>
                <a:srgbClr val="50BE87"/>
              </a:solidFill>
            </a:ln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50BE87"/>
                        </a:solidFill>
                      </a:rPr>
                      <a:t>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ay</c:v>
                </c:pt>
                <c:pt idx="1">
                  <c:v>June</c:v>
                </c:pt>
                <c:pt idx="2">
                  <c:v>July</c:v>
                </c:pt>
                <c:pt idx="3">
                  <c:v>August</c:v>
                </c:pt>
                <c:pt idx="4">
                  <c:v>September</c:v>
                </c:pt>
                <c:pt idx="5">
                  <c:v>October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 First choice awareness</c:v>
                </c:pt>
              </c:strCache>
            </c:strRef>
          </c:tx>
          <c:spPr>
            <a:ln>
              <a:solidFill>
                <a:srgbClr val="FFDC00"/>
              </a:solidFill>
            </a:ln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FFDC00"/>
                        </a:solidFill>
                      </a:rPr>
                      <a:t>1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ay</c:v>
                </c:pt>
                <c:pt idx="1">
                  <c:v>June</c:v>
                </c:pt>
                <c:pt idx="2">
                  <c:v>July</c:v>
                </c:pt>
                <c:pt idx="3">
                  <c:v>August</c:v>
                </c:pt>
                <c:pt idx="4">
                  <c:v>September</c:v>
                </c:pt>
                <c:pt idx="5">
                  <c:v>October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3</c:v>
                </c:pt>
                <c:pt idx="4">
                  <c:v>7</c:v>
                </c:pt>
                <c:pt idx="5">
                  <c:v>10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 Emotional proxiity</c:v>
                </c:pt>
              </c:strCache>
            </c:strRef>
          </c:tx>
          <c:spPr>
            <a:ln>
              <a:solidFill>
                <a:srgbClr val="4BB4E6"/>
              </a:solidFill>
            </a:ln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4BB4E6"/>
                        </a:solidFill>
                      </a:rPr>
                      <a:t>2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Helvetica 75" panose="020B08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ay</c:v>
                </c:pt>
                <c:pt idx="1">
                  <c:v>June</c:v>
                </c:pt>
                <c:pt idx="2">
                  <c:v>July</c:v>
                </c:pt>
                <c:pt idx="3">
                  <c:v>August</c:v>
                </c:pt>
                <c:pt idx="4">
                  <c:v>September</c:v>
                </c:pt>
                <c:pt idx="5">
                  <c:v>October</c:v>
                </c:pt>
              </c:strCache>
            </c:strRef>
          </c:cat>
          <c:val>
            <c:numRef>
              <c:f>Sheet1!$G$2:$G$7</c:f>
              <c:numCache>
                <c:formatCode>General</c:formatCode>
                <c:ptCount val="6"/>
                <c:pt idx="0">
                  <c:v>0</c:v>
                </c:pt>
                <c:pt idx="1">
                  <c:v>6</c:v>
                </c:pt>
                <c:pt idx="2">
                  <c:v>6</c:v>
                </c:pt>
                <c:pt idx="3">
                  <c:v>8</c:v>
                </c:pt>
                <c:pt idx="4">
                  <c:v>12</c:v>
                </c:pt>
                <c:pt idx="5">
                  <c:v>2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1366032"/>
        <c:axId val="191366424"/>
      </c:lineChart>
      <c:catAx>
        <c:axId val="191366032"/>
        <c:scaling>
          <c:orientation val="minMax"/>
        </c:scaling>
        <c:delete val="0"/>
        <c:axPos val="b"/>
        <c:minorGridlines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1366424"/>
        <c:crosses val="autoZero"/>
        <c:auto val="1"/>
        <c:lblAlgn val="ctr"/>
        <c:lblOffset val="100"/>
        <c:noMultiLvlLbl val="0"/>
      </c:catAx>
      <c:valAx>
        <c:axId val="19136642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Helvetica 75" panose="020B0804020202020204" pitchFamily="34" charset="0"/>
              </a:defRPr>
            </a:pPr>
            <a:endParaRPr lang="en-US"/>
          </a:p>
        </c:txPr>
        <c:crossAx val="191366032"/>
        <c:crosses val="autoZero"/>
        <c:crossBetween val="midCat"/>
      </c:valAx>
      <c:spPr>
        <a:noFill/>
        <a:ln w="25400">
          <a:noFill/>
        </a:ln>
      </c:spPr>
    </c:plotArea>
    <c:legend>
      <c:legendPos val="tr"/>
      <c:overlay val="0"/>
      <c:txPr>
        <a:bodyPr/>
        <a:lstStyle/>
        <a:p>
          <a:pPr>
            <a:defRPr sz="900">
              <a:latin typeface="Helvetica 75" panose="020B08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k-SK" b="1">
                <a:latin typeface="Helvetica 45 Light" panose="020B0404020002020204" pitchFamily="34" charset="0"/>
              </a:rPr>
              <a:t>Počet podaných</a:t>
            </a:r>
            <a:r>
              <a:rPr lang="sk-SK" b="1" baseline="0">
                <a:latin typeface="Helvetica 45 Light" panose="020B0404020002020204" pitchFamily="34" charset="0"/>
              </a:rPr>
              <a:t> žiadostí v jednotlivých ročníkoch</a:t>
            </a:r>
          </a:p>
        </c:rich>
      </c:tx>
      <c:layout>
        <c:manualLayout>
          <c:xMode val="edge"/>
          <c:yMode val="edge"/>
          <c:x val="0.20521522309711285"/>
          <c:y val="0.217592592592592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66FF99"/>
            </a:solidFill>
            <a:ln>
              <a:noFill/>
            </a:ln>
            <a:effectLst/>
          </c:spPr>
          <c:invertIfNegative val="0"/>
          <c:cat>
            <c:numRef>
              <c:f>Sheet1!$A$3:$A$8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Sheet1!$B$3:$B$8</c:f>
              <c:numCache>
                <c:formatCode>General</c:formatCode>
                <c:ptCount val="6"/>
                <c:pt idx="0">
                  <c:v>86</c:v>
                </c:pt>
                <c:pt idx="1">
                  <c:v>67</c:v>
                </c:pt>
                <c:pt idx="2">
                  <c:v>55</c:v>
                </c:pt>
                <c:pt idx="3">
                  <c:v>30</c:v>
                </c:pt>
                <c:pt idx="4">
                  <c:v>46</c:v>
                </c:pt>
                <c:pt idx="5">
                  <c:v>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1850472"/>
        <c:axId val="191850864"/>
      </c:barChart>
      <c:catAx>
        <c:axId val="191850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850864"/>
        <c:crosses val="autoZero"/>
        <c:auto val="1"/>
        <c:lblAlgn val="ctr"/>
        <c:lblOffset val="100"/>
        <c:noMultiLvlLbl val="0"/>
      </c:catAx>
      <c:valAx>
        <c:axId val="191850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85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92E790-8EC5-44BD-812B-6C66177C9D58}" type="datetimeFigureOut">
              <a:rPr lang="en-US" smtClean="0"/>
              <a:t>10/1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08FC91-6586-448E-8607-4E5DA7D1E4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4502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39AB75-6642-44BE-AD94-1BA730470B8B}" type="datetimeFigureOut">
              <a:rPr lang="en-US" smtClean="0"/>
              <a:t>10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FF8E5-5ECA-41F6-877F-FE8D53FF09B2}" type="slidenum">
              <a:rPr lang="en-US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49031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dirty="0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1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750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10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38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dirty="0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11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7702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altLang="sk-SK" dirty="0"/>
          </a:p>
        </p:txBody>
      </p:sp>
      <p:sp>
        <p:nvSpPr>
          <p:cNvPr id="717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2C7ABFD3-0456-4433-AFA0-C8D4B744C237}" type="slidenum">
              <a:rPr lang="sk-SK" altLang="en-US" smtClean="0"/>
              <a:pPr>
                <a:spcBef>
                  <a:spcPct val="0"/>
                </a:spcBef>
              </a:pPr>
              <a:t>1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79299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2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243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dirty="0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3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862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4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6027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5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920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dirty="0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6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999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dirty="0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7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347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dirty="0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8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63652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9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sk-SK" smtClean="0"/>
          </a:p>
        </p:txBody>
      </p:sp>
      <p:sp>
        <p:nvSpPr>
          <p:cNvPr id="23962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GB" altLang="sk-SK" smtClean="0">
                <a:solidFill>
                  <a:srgbClr val="000000"/>
                </a:solidFill>
                <a:latin typeface="Helvetica 35 Thin" panose="020B0500000000000000" pitchFamily="34" charset="0"/>
              </a:rPr>
              <a:t>Presentation title</a:t>
            </a:r>
          </a:p>
        </p:txBody>
      </p:sp>
      <p:sp>
        <p:nvSpPr>
          <p:cNvPr id="23962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BEFD9D2-E15D-4B16-9580-56921AFDBBB4}" type="slidenum">
              <a:rPr lang="en-GB" altLang="sk-SK">
                <a:solidFill>
                  <a:srgbClr val="000000"/>
                </a:solidFill>
                <a:latin typeface="Helvetica 35 Thin" panose="020B0500000000000000" pitchFamily="34" charset="0"/>
              </a:rPr>
              <a:pPr>
                <a:spcBef>
                  <a:spcPct val="0"/>
                </a:spcBef>
              </a:pPr>
              <a:t>9</a:t>
            </a:fld>
            <a:endParaRPr lang="en-GB" altLang="sk-SK">
              <a:solidFill>
                <a:srgbClr val="000000"/>
              </a:solidFill>
              <a:latin typeface="Helvetica 35 Thi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377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27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99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618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702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174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6552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349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509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793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138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86863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374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563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594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267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18687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64999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056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223935" y="5958766"/>
            <a:ext cx="5649816" cy="6450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0360" fontAlgn="base">
              <a:spcBef>
                <a:spcPct val="0"/>
              </a:spcBef>
              <a:spcAft>
                <a:spcPct val="0"/>
              </a:spcAft>
            </a:pPr>
            <a:endParaRPr lang="en-GB" sz="1867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2968" y="452967"/>
            <a:ext cx="7776633" cy="4614333"/>
          </a:xfrm>
        </p:spPr>
        <p:txBody>
          <a:bodyPr/>
          <a:lstStyle>
            <a:lvl1pPr>
              <a:lnSpc>
                <a:spcPct val="85000"/>
              </a:lnSpc>
              <a:spcAft>
                <a:spcPts val="4267"/>
              </a:spcAft>
              <a:defRPr sz="7333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2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678334" y="452967"/>
            <a:ext cx="3069167" cy="4614333"/>
          </a:xfrm>
        </p:spPr>
        <p:txBody>
          <a:bodyPr tIns="109728"/>
          <a:lstStyle>
            <a:lvl1pPr>
              <a:spcAft>
                <a:spcPts val="32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32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52967" y="5507566"/>
            <a:ext cx="902404" cy="902404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66234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4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535504" indent="-535504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4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3pPr>
            <a:lvl4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4pPr>
            <a:lvl5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9925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4267"/>
              </a:spcAft>
              <a:defRPr sz="7333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200"/>
              </a:spcAft>
              <a:defRPr sz="1867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1067"/>
              </a:spcAft>
              <a:buNone/>
              <a:defRPr sz="1600"/>
            </a:lvl3pPr>
            <a:lvl4pPr>
              <a:lnSpc>
                <a:spcPct val="85000"/>
              </a:lnSpc>
              <a:spcAft>
                <a:spcPts val="1067"/>
              </a:spcAft>
              <a:defRPr sz="7333"/>
            </a:lvl4pPr>
            <a:lvl5pPr>
              <a:lnSpc>
                <a:spcPct val="85000"/>
              </a:lnSpc>
              <a:spcAft>
                <a:spcPts val="1067"/>
              </a:spcAft>
              <a:defRPr sz="7333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075382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967" y="452967"/>
            <a:ext cx="11294533" cy="831851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1739900"/>
            <a:ext cx="11294532" cy="4220633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 sz="18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2473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967" y="452966"/>
            <a:ext cx="11294533" cy="83185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6" y="1739900"/>
            <a:ext cx="5420785" cy="4220632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8252" y="1739900"/>
            <a:ext cx="5420785" cy="4220632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3904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5690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1739901"/>
            <a:ext cx="11294532" cy="4220633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2967" y="452966"/>
            <a:ext cx="11294533" cy="83185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0641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20356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9345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58431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62"/>
          <p:cNvSpPr>
            <a:spLocks noChangeArrowheads="1"/>
          </p:cNvSpPr>
          <p:nvPr userDrawn="1"/>
        </p:nvSpPr>
        <p:spPr bwMode="auto">
          <a:xfrm>
            <a:off x="1339853" y="6408739"/>
            <a:ext cx="3727449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>
            <a:lvl1pPr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defTabSz="95036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fr-FR" sz="1333" smtClean="0">
                <a:solidFill>
                  <a:srgbClr val="7F7F7F"/>
                </a:solidFill>
              </a:rPr>
              <a:t>interne Orange</a:t>
            </a: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>
            <a:off x="527053" y="6408739"/>
            <a:ext cx="6731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>
            <a:lvl1pPr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defTabSz="950360" fontAlgn="base">
              <a:spcBef>
                <a:spcPct val="0"/>
              </a:spcBef>
              <a:spcAft>
                <a:spcPct val="0"/>
              </a:spcAft>
              <a:defRPr/>
            </a:pPr>
            <a:fld id="{E0D81686-9AEA-46A4-BF85-A68B5BCEB754}" type="slidenum">
              <a:rPr lang="en-US" altLang="fr-FR" sz="1333" smtClean="0">
                <a:solidFill>
                  <a:srgbClr val="7F7F7F"/>
                </a:solidFill>
                <a:ea typeface="ＭＳ Ｐゴシック" pitchFamily="34" charset="-128"/>
              </a:rPr>
              <a:pPr defTabSz="95036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fr-FR" sz="1333" smtClean="0">
              <a:solidFill>
                <a:srgbClr val="7F7F7F"/>
              </a:solidFill>
              <a:ea typeface="ＭＳ Ｐゴシック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54951" y="403200"/>
            <a:ext cx="9446400" cy="9828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390667" y="1773238"/>
            <a:ext cx="9410700" cy="3887787"/>
          </a:xfrm>
        </p:spPr>
        <p:txBody>
          <a:bodyPr/>
          <a:lstStyle>
            <a:lvl1pPr>
              <a:defRPr sz="24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981640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5973235" y="6582833"/>
            <a:ext cx="304429" cy="32520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59461" tIns="59461" rIns="59461" bIns="59461">
            <a:spAutoFit/>
          </a:bodyPr>
          <a:lstStyle>
            <a:lvl1pPr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FF6600"/>
              </a:buClr>
              <a:buSzPct val="70000"/>
              <a:defRPr/>
            </a:pPr>
            <a:fld id="{A26DE68E-6224-447E-8842-589BD02D8AB4}" type="slidenum">
              <a:rPr altLang="fr-FR" sz="1333" noProof="1" smtClean="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</a:rPr>
              <a:pPr eaLnBrk="1" fontAlgn="base" hangingPunct="1">
                <a:spcBef>
                  <a:spcPct val="40000"/>
                </a:spcBef>
                <a:spcAft>
                  <a:spcPct val="0"/>
                </a:spcAft>
                <a:buClr>
                  <a:srgbClr val="FF6600"/>
                </a:buClr>
                <a:buSzPct val="70000"/>
                <a:defRPr/>
              </a:pPr>
              <a:t>‹#›</a:t>
            </a:fld>
            <a:endParaRPr lang="en-GB" altLang="fr-FR" sz="1333" noProof="1" smtClean="0">
              <a:solidFill>
                <a:srgbClr val="000000"/>
              </a:solidFill>
              <a:latin typeface="Helvetica 45 Light" pitchFamily="34" charset="0"/>
              <a:ea typeface="ＭＳ Ｐゴシック" pitchFamily="34" charset="-128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8134354" y="6498168"/>
            <a:ext cx="2688167" cy="325204"/>
          </a:xfrm>
          <a:prstGeom prst="rect">
            <a:avLst/>
          </a:prstGeom>
          <a:noFill/>
          <a:ln>
            <a:noFill/>
          </a:ln>
          <a:extLst/>
        </p:spPr>
        <p:txBody>
          <a:bodyPr lIns="59461" tIns="59461" rIns="59461" bIns="59461">
            <a:spAutoFit/>
          </a:bodyPr>
          <a:lstStyle>
            <a:lvl1pPr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883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40000"/>
              </a:spcBef>
              <a:buClr>
                <a:srgbClr val="FF6600"/>
              </a:buClr>
              <a:buSzPct val="70000"/>
              <a:defRPr/>
            </a:pPr>
            <a:r>
              <a:rPr lang="en-GB" altLang="en-US" sz="1333" dirty="0" smtClean="0">
                <a:solidFill>
                  <a:srgbClr val="000000"/>
                </a:solidFill>
                <a:latin typeface="Helvetica 45 Light" pitchFamily="34" charset="0"/>
              </a:rPr>
              <a:t>OMD confidential</a:t>
            </a:r>
            <a:endParaRPr lang="en-GB" altLang="en-US" sz="1333" noProof="1" smtClean="0">
              <a:solidFill>
                <a:srgbClr val="000000"/>
              </a:solidFill>
              <a:latin typeface="Helvetica 45 Light" pitchFamily="34" charset="0"/>
              <a:ea typeface="ＭＳ Ｐゴシック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63225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223935" y="5958766"/>
            <a:ext cx="5649816" cy="6450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0360" fontAlgn="base">
              <a:spcBef>
                <a:spcPct val="0"/>
              </a:spcBef>
              <a:spcAft>
                <a:spcPct val="0"/>
              </a:spcAft>
            </a:pPr>
            <a:endParaRPr lang="en-GB" sz="1867">
              <a:solidFill>
                <a:srgbClr val="00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2968" y="452967"/>
            <a:ext cx="7776633" cy="4614333"/>
          </a:xfrm>
        </p:spPr>
        <p:txBody>
          <a:bodyPr/>
          <a:lstStyle>
            <a:lvl1pPr>
              <a:lnSpc>
                <a:spcPct val="85000"/>
              </a:lnSpc>
              <a:spcAft>
                <a:spcPts val="4267"/>
              </a:spcAft>
              <a:defRPr sz="7333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2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678334" y="452967"/>
            <a:ext cx="3069167" cy="4614333"/>
          </a:xfrm>
        </p:spPr>
        <p:txBody>
          <a:bodyPr tIns="109728"/>
          <a:lstStyle>
            <a:lvl1pPr>
              <a:spcAft>
                <a:spcPts val="32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32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52967" y="5507566"/>
            <a:ext cx="902404" cy="902404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600"/>
                </a:spcAft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98172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4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535504" indent="-535504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4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3pPr>
            <a:lvl4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4pPr>
            <a:lvl5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1"/>
            <a:r>
              <a:rPr lang="en-US" dirty="0" smtClean="0"/>
              <a:t>Fourth level</a:t>
            </a:r>
          </a:p>
          <a:p>
            <a:pPr lvl="1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5078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4267"/>
              </a:spcAft>
              <a:defRPr sz="7333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200"/>
              </a:spcAft>
              <a:defRPr sz="1867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1067"/>
              </a:spcAft>
              <a:buNone/>
              <a:defRPr sz="1600"/>
            </a:lvl3pPr>
            <a:lvl4pPr>
              <a:lnSpc>
                <a:spcPct val="85000"/>
              </a:lnSpc>
              <a:spcAft>
                <a:spcPts val="1067"/>
              </a:spcAft>
              <a:defRPr sz="7333"/>
            </a:lvl4pPr>
            <a:lvl5pPr>
              <a:lnSpc>
                <a:spcPct val="85000"/>
              </a:lnSpc>
              <a:spcAft>
                <a:spcPts val="1067"/>
              </a:spcAft>
              <a:defRPr sz="7333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641311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967" y="452967"/>
            <a:ext cx="11294533" cy="831851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1739900"/>
            <a:ext cx="11294532" cy="4220633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 sz="18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653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916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967" y="452966"/>
            <a:ext cx="11294533" cy="83185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6" y="1739900"/>
            <a:ext cx="5420785" cy="4220632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8252" y="1739900"/>
            <a:ext cx="5420785" cy="4220632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7518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1739901"/>
            <a:ext cx="11294532" cy="4220633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2967" y="452966"/>
            <a:ext cx="11294533" cy="83185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8655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1210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1448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78594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452967" y="5507567"/>
            <a:ext cx="901700" cy="901700"/>
            <a:chOff x="360362" y="1781889"/>
            <a:chExt cx="1144765" cy="1144191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ts val="1600"/>
                </a:spcAft>
                <a:defRPr/>
              </a:pPr>
              <a:endParaRPr lang="fr-FR" altLang="fr-FR" sz="2400" smtClean="0">
                <a:solidFill>
                  <a:srgbClr val="FF6600"/>
                </a:solidFill>
                <a:cs typeface="Arial" pitchFamily="34" charset="0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57923365 w 104"/>
                <a:gd name="T1" fmla="*/ 158000939 h 122"/>
                <a:gd name="T2" fmla="*/ 84082172 w 104"/>
                <a:gd name="T3" fmla="*/ 187743367 h 122"/>
                <a:gd name="T4" fmla="*/ 136398419 w 104"/>
                <a:gd name="T5" fmla="*/ 163578582 h 122"/>
                <a:gd name="T6" fmla="*/ 136398419 w 104"/>
                <a:gd name="T7" fmla="*/ 111531037 h 122"/>
                <a:gd name="T8" fmla="*/ 57923365 w 104"/>
                <a:gd name="T9" fmla="*/ 158000939 h 122"/>
                <a:gd name="T10" fmla="*/ 138267003 w 104"/>
                <a:gd name="T11" fmla="*/ 204472205 h 122"/>
                <a:gd name="T12" fmla="*/ 65396334 w 104"/>
                <a:gd name="T13" fmla="*/ 226778685 h 122"/>
                <a:gd name="T14" fmla="*/ 0 w 104"/>
                <a:gd name="T15" fmla="*/ 163578582 h 122"/>
                <a:gd name="T16" fmla="*/ 138267003 w 104"/>
                <a:gd name="T17" fmla="*/ 78071999 h 122"/>
                <a:gd name="T18" fmla="*/ 138267003 w 104"/>
                <a:gd name="T19" fmla="*/ 65059772 h 122"/>
                <a:gd name="T20" fmla="*/ 104635228 w 104"/>
                <a:gd name="T21" fmla="*/ 40894986 h 122"/>
                <a:gd name="T22" fmla="*/ 50449030 w 104"/>
                <a:gd name="T23" fmla="*/ 65059772 h 122"/>
                <a:gd name="T24" fmla="*/ 11211503 w 104"/>
                <a:gd name="T25" fmla="*/ 42753292 h 122"/>
                <a:gd name="T26" fmla="*/ 104635228 w 104"/>
                <a:gd name="T27" fmla="*/ 0 h 122"/>
                <a:gd name="T28" fmla="*/ 194321785 w 104"/>
                <a:gd name="T29" fmla="*/ 65059772 h 122"/>
                <a:gd name="T30" fmla="*/ 194321785 w 104"/>
                <a:gd name="T31" fmla="*/ 223060711 h 122"/>
                <a:gd name="T32" fmla="*/ 143872755 w 104"/>
                <a:gd name="T33" fmla="*/ 223060711 h 122"/>
                <a:gd name="T34" fmla="*/ 138267003 w 104"/>
                <a:gd name="T35" fmla="*/ 204472205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60" fontAlgn="base">
                <a:spcBef>
                  <a:spcPct val="0"/>
                </a:spcBef>
                <a:spcAft>
                  <a:spcPct val="0"/>
                </a:spcAft>
              </a:pPr>
              <a:endParaRPr lang="fr-FR" sz="1867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11211519 h 120"/>
                <a:gd name="T2" fmla="*/ 46571980 w 105"/>
                <a:gd name="T3" fmla="*/ 3737173 h 120"/>
                <a:gd name="T4" fmla="*/ 52159745 w 105"/>
                <a:gd name="T5" fmla="*/ 29896017 h 120"/>
                <a:gd name="T6" fmla="*/ 126674640 w 105"/>
                <a:gd name="T7" fmla="*/ 0 h 120"/>
                <a:gd name="T8" fmla="*/ 195600407 w 105"/>
                <a:gd name="T9" fmla="*/ 71002185 h 120"/>
                <a:gd name="T10" fmla="*/ 195600407 w 105"/>
                <a:gd name="T11" fmla="*/ 224218075 h 120"/>
                <a:gd name="T12" fmla="*/ 137851533 w 105"/>
                <a:gd name="T13" fmla="*/ 224218075 h 120"/>
                <a:gd name="T14" fmla="*/ 137851533 w 105"/>
                <a:gd name="T15" fmla="*/ 82213704 h 120"/>
                <a:gd name="T16" fmla="*/ 109908618 w 105"/>
                <a:gd name="T17" fmla="*/ 42974755 h 120"/>
                <a:gd name="T18" fmla="*/ 55885831 w 105"/>
                <a:gd name="T19" fmla="*/ 67265012 h 120"/>
                <a:gd name="T20" fmla="*/ 55885831 w 105"/>
                <a:gd name="T21" fmla="*/ 224218075 h 120"/>
                <a:gd name="T22" fmla="*/ 0 w 105"/>
                <a:gd name="T23" fmla="*/ 224218075 h 120"/>
                <a:gd name="T24" fmla="*/ 0 w 105"/>
                <a:gd name="T25" fmla="*/ 11211519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60" fontAlgn="base">
                <a:spcBef>
                  <a:spcPct val="0"/>
                </a:spcBef>
                <a:spcAft>
                  <a:spcPct val="0"/>
                </a:spcAft>
              </a:pPr>
              <a:endParaRPr lang="fr-FR" sz="1867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147752749 w 109"/>
                <a:gd name="T1" fmla="*/ 85506583 h 122"/>
                <a:gd name="T2" fmla="*/ 102865803 w 109"/>
                <a:gd name="T3" fmla="*/ 39035318 h 122"/>
                <a:gd name="T4" fmla="*/ 57978857 w 109"/>
                <a:gd name="T5" fmla="*/ 85506583 h 122"/>
                <a:gd name="T6" fmla="*/ 147752749 w 109"/>
                <a:gd name="T7" fmla="*/ 85506583 h 122"/>
                <a:gd name="T8" fmla="*/ 104736662 w 109"/>
                <a:gd name="T9" fmla="*/ 226778685 h 122"/>
                <a:gd name="T10" fmla="*/ 0 w 109"/>
                <a:gd name="T11" fmla="*/ 115247648 h 122"/>
                <a:gd name="T12" fmla="*/ 102865803 w 109"/>
                <a:gd name="T13" fmla="*/ 0 h 122"/>
                <a:gd name="T14" fmla="*/ 203862115 w 109"/>
                <a:gd name="T15" fmla="*/ 111531037 h 122"/>
                <a:gd name="T16" fmla="*/ 203862115 w 109"/>
                <a:gd name="T17" fmla="*/ 122683596 h 122"/>
                <a:gd name="T18" fmla="*/ 57978857 w 109"/>
                <a:gd name="T19" fmla="*/ 122683596 h 122"/>
                <a:gd name="T20" fmla="*/ 108477013 w 109"/>
                <a:gd name="T21" fmla="*/ 185883699 h 122"/>
                <a:gd name="T22" fmla="*/ 158975169 w 109"/>
                <a:gd name="T23" fmla="*/ 156142634 h 122"/>
                <a:gd name="T24" fmla="*/ 201991255 w 109"/>
                <a:gd name="T25" fmla="*/ 180307419 h 122"/>
                <a:gd name="T26" fmla="*/ 104736662 w 109"/>
                <a:gd name="T27" fmla="*/ 226778685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60" fontAlgn="base">
                <a:spcBef>
                  <a:spcPct val="0"/>
                </a:spcBef>
                <a:spcAft>
                  <a:spcPct val="0"/>
                </a:spcAft>
              </a:pPr>
              <a:endParaRPr lang="fr-FR" sz="1867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107979708 w 116"/>
                <a:gd name="T1" fmla="*/ 48416180 h 124"/>
                <a:gd name="T2" fmla="*/ 57713433 w 116"/>
                <a:gd name="T3" fmla="*/ 115453757 h 124"/>
                <a:gd name="T4" fmla="*/ 107979708 w 116"/>
                <a:gd name="T5" fmla="*/ 182489970 h 124"/>
                <a:gd name="T6" fmla="*/ 158245982 w 116"/>
                <a:gd name="T7" fmla="*/ 115453757 h 124"/>
                <a:gd name="T8" fmla="*/ 107979708 w 116"/>
                <a:gd name="T9" fmla="*/ 48416180 h 124"/>
                <a:gd name="T10" fmla="*/ 107979708 w 116"/>
                <a:gd name="T11" fmla="*/ 230906149 h 124"/>
                <a:gd name="T12" fmla="*/ 0 w 116"/>
                <a:gd name="T13" fmla="*/ 115453757 h 124"/>
                <a:gd name="T14" fmla="*/ 107979708 w 116"/>
                <a:gd name="T15" fmla="*/ 0 h 124"/>
                <a:gd name="T16" fmla="*/ 215959415 w 116"/>
                <a:gd name="T17" fmla="*/ 115453757 h 124"/>
                <a:gd name="T18" fmla="*/ 107979708 w 116"/>
                <a:gd name="T19" fmla="*/ 230906149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60" fontAlgn="base">
                <a:spcBef>
                  <a:spcPct val="0"/>
                </a:spcBef>
                <a:spcAft>
                  <a:spcPct val="0"/>
                </a:spcAft>
              </a:pPr>
              <a:endParaRPr lang="fr-FR" sz="1867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5605759 h 120"/>
                <a:gd name="T2" fmla="*/ 55518419 w 66"/>
                <a:gd name="T3" fmla="*/ 5605759 h 120"/>
                <a:gd name="T4" fmla="*/ 55518419 w 66"/>
                <a:gd name="T5" fmla="*/ 31764603 h 120"/>
                <a:gd name="T6" fmla="*/ 114738428 w 66"/>
                <a:gd name="T7" fmla="*/ 0 h 120"/>
                <a:gd name="T8" fmla="*/ 122141609 w 66"/>
                <a:gd name="T9" fmla="*/ 1868586 h 120"/>
                <a:gd name="T10" fmla="*/ 122141609 w 66"/>
                <a:gd name="T11" fmla="*/ 56054860 h 120"/>
                <a:gd name="T12" fmla="*/ 118440019 w 66"/>
                <a:gd name="T13" fmla="*/ 56054860 h 120"/>
                <a:gd name="T14" fmla="*/ 59220009 w 66"/>
                <a:gd name="T15" fmla="*/ 78476531 h 120"/>
                <a:gd name="T16" fmla="*/ 59220009 w 66"/>
                <a:gd name="T17" fmla="*/ 224218075 h 120"/>
                <a:gd name="T18" fmla="*/ 0 w 66"/>
                <a:gd name="T19" fmla="*/ 224218075 h 120"/>
                <a:gd name="T20" fmla="*/ 0 w 66"/>
                <a:gd name="T21" fmla="*/ 5605759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60" fontAlgn="base">
                <a:spcBef>
                  <a:spcPct val="0"/>
                </a:spcBef>
                <a:spcAft>
                  <a:spcPct val="0"/>
                </a:spcAft>
              </a:pPr>
              <a:endParaRPr lang="fr-FR" sz="1867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03570256 w 110"/>
                <a:gd name="T1" fmla="*/ 3732077 h 166"/>
                <a:gd name="T2" fmla="*/ 203570256 w 110"/>
                <a:gd name="T3" fmla="*/ 212737927 h 166"/>
                <a:gd name="T4" fmla="*/ 96233410 w 110"/>
                <a:gd name="T5" fmla="*/ 309776017 h 166"/>
                <a:gd name="T6" fmla="*/ 5551718 w 110"/>
                <a:gd name="T7" fmla="*/ 255658174 h 166"/>
                <a:gd name="T8" fmla="*/ 62921740 w 110"/>
                <a:gd name="T9" fmla="*/ 246327983 h 166"/>
                <a:gd name="T10" fmla="*/ 103635247 w 110"/>
                <a:gd name="T11" fmla="*/ 266855770 h 166"/>
                <a:gd name="T12" fmla="*/ 148051714 w 110"/>
                <a:gd name="T13" fmla="*/ 218336042 h 166"/>
                <a:gd name="T14" fmla="*/ 148051714 w 110"/>
                <a:gd name="T15" fmla="*/ 194076178 h 166"/>
                <a:gd name="T16" fmla="*/ 146200234 w 110"/>
                <a:gd name="T17" fmla="*/ 192210140 h 166"/>
                <a:gd name="T18" fmla="*/ 90681692 w 110"/>
                <a:gd name="T19" fmla="*/ 223934157 h 166"/>
                <a:gd name="T20" fmla="*/ 0 w 110"/>
                <a:gd name="T21" fmla="*/ 115699838 h 166"/>
                <a:gd name="T22" fmla="*/ 86980093 w 110"/>
                <a:gd name="T23" fmla="*/ 0 h 166"/>
                <a:gd name="T24" fmla="*/ 149901833 w 110"/>
                <a:gd name="T25" fmla="*/ 31724017 h 166"/>
                <a:gd name="T26" fmla="*/ 149901833 w 110"/>
                <a:gd name="T27" fmla="*/ 29857979 h 166"/>
                <a:gd name="T28" fmla="*/ 155453551 w 110"/>
                <a:gd name="T29" fmla="*/ 3732077 h 166"/>
                <a:gd name="T30" fmla="*/ 203570256 w 110"/>
                <a:gd name="T31" fmla="*/ 3732077 h 166"/>
                <a:gd name="T32" fmla="*/ 101785128 w 110"/>
                <a:gd name="T33" fmla="*/ 177281834 h 166"/>
                <a:gd name="T34" fmla="*/ 148051714 w 110"/>
                <a:gd name="T35" fmla="*/ 102636204 h 166"/>
                <a:gd name="T36" fmla="*/ 99935009 w 110"/>
                <a:gd name="T37" fmla="*/ 41054208 h 166"/>
                <a:gd name="T38" fmla="*/ 57370022 w 110"/>
                <a:gd name="T39" fmla="*/ 106368281 h 166"/>
                <a:gd name="T40" fmla="*/ 101785128 w 110"/>
                <a:gd name="T41" fmla="*/ 177281834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60" fontAlgn="base">
                <a:spcBef>
                  <a:spcPct val="0"/>
                </a:spcBef>
                <a:spcAft>
                  <a:spcPct val="0"/>
                </a:spcAft>
              </a:pPr>
              <a:endParaRPr lang="fr-FR" sz="1867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64594984 w 195"/>
                <a:gd name="T1" fmla="*/ 30475027 h 92"/>
                <a:gd name="T2" fmla="*/ 58963815 w 195"/>
                <a:gd name="T3" fmla="*/ 30475027 h 92"/>
                <a:gd name="T4" fmla="*/ 58963815 w 195"/>
                <a:gd name="T5" fmla="*/ 5300180 h 92"/>
                <a:gd name="T6" fmla="*/ 58963815 w 195"/>
                <a:gd name="T7" fmla="*/ 5300180 h 92"/>
                <a:gd name="T8" fmla="*/ 48694875 w 195"/>
                <a:gd name="T9" fmla="*/ 30475027 h 92"/>
                <a:gd name="T10" fmla="*/ 45713532 w 195"/>
                <a:gd name="T11" fmla="*/ 30475027 h 92"/>
                <a:gd name="T12" fmla="*/ 36437989 w 195"/>
                <a:gd name="T13" fmla="*/ 5300180 h 92"/>
                <a:gd name="T14" fmla="*/ 35444592 w 195"/>
                <a:gd name="T15" fmla="*/ 5300180 h 92"/>
                <a:gd name="T16" fmla="*/ 35444592 w 195"/>
                <a:gd name="T17" fmla="*/ 30475027 h 92"/>
                <a:gd name="T18" fmla="*/ 30806821 w 195"/>
                <a:gd name="T19" fmla="*/ 30475027 h 92"/>
                <a:gd name="T20" fmla="*/ 30806821 w 195"/>
                <a:gd name="T21" fmla="*/ 0 h 92"/>
                <a:gd name="T22" fmla="*/ 38756875 w 195"/>
                <a:gd name="T23" fmla="*/ 0 h 92"/>
                <a:gd name="T24" fmla="*/ 48032418 w 195"/>
                <a:gd name="T25" fmla="*/ 23519009 h 92"/>
                <a:gd name="T26" fmla="*/ 56644929 w 195"/>
                <a:gd name="T27" fmla="*/ 0 h 92"/>
                <a:gd name="T28" fmla="*/ 64594984 w 195"/>
                <a:gd name="T29" fmla="*/ 0 h 92"/>
                <a:gd name="T30" fmla="*/ 64594984 w 195"/>
                <a:gd name="T31" fmla="*/ 30475027 h 92"/>
                <a:gd name="T32" fmla="*/ 24513195 w 195"/>
                <a:gd name="T33" fmla="*/ 4637729 h 92"/>
                <a:gd name="T34" fmla="*/ 15237652 w 195"/>
                <a:gd name="T35" fmla="*/ 4637729 h 92"/>
                <a:gd name="T36" fmla="*/ 15237652 w 195"/>
                <a:gd name="T37" fmla="*/ 30475027 h 92"/>
                <a:gd name="T38" fmla="*/ 10268940 w 195"/>
                <a:gd name="T39" fmla="*/ 30475027 h 92"/>
                <a:gd name="T40" fmla="*/ 10268940 w 195"/>
                <a:gd name="T41" fmla="*/ 4637729 h 92"/>
                <a:gd name="T42" fmla="*/ 0 w 195"/>
                <a:gd name="T43" fmla="*/ 4637729 h 92"/>
                <a:gd name="T44" fmla="*/ 0 w 195"/>
                <a:gd name="T45" fmla="*/ 0 h 92"/>
                <a:gd name="T46" fmla="*/ 24513195 w 195"/>
                <a:gd name="T47" fmla="*/ 0 h 92"/>
                <a:gd name="T48" fmla="*/ 24513195 w 195"/>
                <a:gd name="T49" fmla="*/ 4637729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60" fontAlgn="base">
                <a:spcBef>
                  <a:spcPct val="0"/>
                </a:spcBef>
                <a:spcAft>
                  <a:spcPct val="0"/>
                </a:spcAft>
              </a:pPr>
              <a:endParaRPr lang="fr-FR" sz="1867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7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8678353" y="452968"/>
            <a:ext cx="3069167" cy="4614333"/>
          </a:xfrm>
        </p:spPr>
        <p:txBody>
          <a:bodyPr/>
          <a:lstStyle>
            <a:lvl1pPr>
              <a:spcAft>
                <a:spcPts val="4667"/>
              </a:spcAft>
              <a:defRPr/>
            </a:lvl1pPr>
            <a:lvl2pPr>
              <a:spcAft>
                <a:spcPts val="1067"/>
              </a:spcAft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2973" y="452968"/>
            <a:ext cx="7776633" cy="4614333"/>
          </a:xfrm>
        </p:spPr>
        <p:txBody>
          <a:bodyPr/>
          <a:lstStyle>
            <a:lvl1pPr>
              <a:spcAft>
                <a:spcPts val="4667"/>
              </a:spcAft>
              <a:defRPr sz="73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98976410"/>
      </p:ext>
    </p:extLst>
  </p:cSld>
  <p:clrMapOvr>
    <a:masterClrMapping/>
  </p:clrMapOvr>
  <p:transition spd="med">
    <p:fade/>
  </p:transition>
  <p:hf sldNum="0" hdr="0" ftr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448733" y="5962651"/>
            <a:ext cx="366184" cy="44661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3812CA42-C49F-4C09-B6E0-B8761225867F}" type="slidenum">
              <a:rPr lang="en-GB" sz="1067">
                <a:solidFill>
                  <a:srgbClr val="000000"/>
                </a:solidFill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000000"/>
              </a:solidFill>
            </a:endParaRP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874184" y="5956301"/>
            <a:ext cx="10869083" cy="45296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4" y="45297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 sz="4000">
                <a:solidFill>
                  <a:srgbClr val="FF6600"/>
                </a:solidFill>
              </a:defRPr>
            </a:lvl1pPr>
            <a:lvl2pPr marL="535504" indent="-535504">
              <a:lnSpc>
                <a:spcPct val="85000"/>
              </a:lnSpc>
              <a:spcAft>
                <a:spcPts val="1067"/>
              </a:spcAft>
              <a:buFont typeface="+mj-lt"/>
              <a:buAutoNum type="arabicPeriod"/>
              <a:defRPr sz="4000"/>
            </a:lvl2pPr>
            <a:lvl3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3pPr>
            <a:lvl4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4pPr>
            <a:lvl5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1"/>
            <a:r>
              <a:rPr lang="en-US" dirty="0" smtClean="0"/>
              <a:t>Fourth level</a:t>
            </a:r>
          </a:p>
          <a:p>
            <a:pPr lvl="1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036038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448733" y="5962651"/>
            <a:ext cx="366184" cy="44661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65F94204-A4F9-4A13-967F-52CB3ECBAFF3}" type="slidenum">
              <a:rPr lang="en-GB" sz="1067">
                <a:solidFill>
                  <a:srgbClr val="000000"/>
                </a:solidFill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000000"/>
              </a:solidFill>
            </a:endParaRP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874184" y="5956301"/>
            <a:ext cx="10869083" cy="45296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4" y="45297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 sz="7333">
                <a:solidFill>
                  <a:srgbClr val="FF6600"/>
                </a:solidFill>
              </a:defRPr>
            </a:lvl1pPr>
            <a:lvl2pPr>
              <a:lnSpc>
                <a:spcPct val="85000"/>
              </a:lnSpc>
              <a:spcAft>
                <a:spcPts val="5333"/>
              </a:spcAft>
              <a:defRPr sz="7333"/>
            </a:lvl2pPr>
            <a:lvl3pPr marL="0" indent="0">
              <a:lnSpc>
                <a:spcPct val="85000"/>
              </a:lnSpc>
              <a:spcAft>
                <a:spcPts val="1067"/>
              </a:spcAft>
              <a:buNone/>
              <a:defRPr sz="1600"/>
            </a:lvl3pPr>
            <a:lvl4pPr>
              <a:lnSpc>
                <a:spcPct val="85000"/>
              </a:lnSpc>
              <a:spcAft>
                <a:spcPts val="1067"/>
              </a:spcAft>
              <a:defRPr sz="7333"/>
            </a:lvl4pPr>
            <a:lvl5pPr>
              <a:lnSpc>
                <a:spcPct val="85000"/>
              </a:lnSpc>
              <a:spcAft>
                <a:spcPts val="1067"/>
              </a:spcAft>
              <a:defRPr sz="7333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01194743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448733" y="5962651"/>
            <a:ext cx="366184" cy="44661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11886E77-B213-462D-928E-FB0BB8588C31}" type="slidenum">
              <a:rPr lang="en-GB" sz="1067">
                <a:solidFill>
                  <a:srgbClr val="000000"/>
                </a:solidFill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000000"/>
              </a:solidFill>
            </a:endParaRP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874184" y="5956301"/>
            <a:ext cx="10869083" cy="45296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</a:rPr>
              <a:t>Orange Restrict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967" y="452969"/>
            <a:ext cx="11294533" cy="831851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 sz="2667">
                <a:solidFill>
                  <a:srgbClr val="FF66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4" y="1739903"/>
            <a:ext cx="11294532" cy="4220633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 sz="1867">
                <a:solidFill>
                  <a:srgbClr val="FF6600"/>
                </a:solidFill>
              </a:defRPr>
            </a:lvl1pPr>
            <a:lvl2pPr>
              <a:lnSpc>
                <a:spcPct val="85000"/>
              </a:lnSpc>
              <a:spcAft>
                <a:spcPts val="1067"/>
              </a:spcAft>
              <a:defRPr sz="1867"/>
            </a:lvl2pPr>
            <a:lvl3pPr>
              <a:lnSpc>
                <a:spcPct val="85000"/>
              </a:lnSpc>
              <a:spcAft>
                <a:spcPts val="1067"/>
              </a:spcAft>
              <a:defRPr sz="1867"/>
            </a:lvl3pPr>
            <a:lvl4pPr>
              <a:lnSpc>
                <a:spcPct val="85000"/>
              </a:lnSpc>
              <a:spcAft>
                <a:spcPts val="1067"/>
              </a:spcAft>
              <a:defRPr sz="1867"/>
            </a:lvl4pPr>
            <a:lvl5pPr>
              <a:lnSpc>
                <a:spcPct val="85000"/>
              </a:lnSpc>
              <a:spcAft>
                <a:spcPts val="1067"/>
              </a:spcAft>
              <a:defRPr sz="1867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110304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448733" y="5962651"/>
            <a:ext cx="366184" cy="44661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F075FA69-42EB-4120-B01E-3119959A37DB}" type="slidenum">
              <a:rPr lang="en-GB" sz="1067">
                <a:solidFill>
                  <a:srgbClr val="000000"/>
                </a:solidFill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874184" y="5956301"/>
            <a:ext cx="10869083" cy="45296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</a:rPr>
              <a:t>Orange Restrict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 sz="2667">
                <a:solidFill>
                  <a:srgbClr val="FF66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6" y="1739900"/>
            <a:ext cx="5420785" cy="4220632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>
                <a:solidFill>
                  <a:srgbClr val="FF6600"/>
                </a:solidFill>
              </a:defRPr>
            </a:lvl1pPr>
            <a:lvl2pPr>
              <a:lnSpc>
                <a:spcPct val="85000"/>
              </a:lnSpc>
              <a:spcAft>
                <a:spcPts val="1067"/>
              </a:spcAft>
              <a:defRPr/>
            </a:lvl2pPr>
            <a:lvl3pPr>
              <a:lnSpc>
                <a:spcPct val="85000"/>
              </a:lnSpc>
              <a:spcAft>
                <a:spcPts val="1067"/>
              </a:spcAft>
              <a:defRPr/>
            </a:lvl3pPr>
            <a:lvl4pPr>
              <a:lnSpc>
                <a:spcPct val="85000"/>
              </a:lnSpc>
              <a:spcAft>
                <a:spcPts val="1067"/>
              </a:spcAft>
              <a:defRPr/>
            </a:lvl4pPr>
            <a:lvl5pPr>
              <a:lnSpc>
                <a:spcPct val="85000"/>
              </a:lnSpc>
              <a:spcAft>
                <a:spcPts val="1067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8270" y="1739900"/>
            <a:ext cx="5420785" cy="4220632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>
                <a:solidFill>
                  <a:srgbClr val="FF6600"/>
                </a:solidFill>
              </a:defRPr>
            </a:lvl1pPr>
            <a:lvl2pPr>
              <a:lnSpc>
                <a:spcPct val="85000"/>
              </a:lnSpc>
              <a:spcAft>
                <a:spcPts val="1067"/>
              </a:spcAft>
              <a:defRPr/>
            </a:lvl2pPr>
            <a:lvl3pPr>
              <a:lnSpc>
                <a:spcPct val="85000"/>
              </a:lnSpc>
              <a:spcAft>
                <a:spcPts val="1067"/>
              </a:spcAft>
              <a:defRPr/>
            </a:lvl3pPr>
            <a:lvl4pPr>
              <a:lnSpc>
                <a:spcPct val="85000"/>
              </a:lnSpc>
              <a:spcAft>
                <a:spcPts val="1067"/>
              </a:spcAft>
              <a:defRPr/>
            </a:lvl4pPr>
            <a:lvl5pPr>
              <a:lnSpc>
                <a:spcPct val="85000"/>
              </a:lnSpc>
              <a:spcAft>
                <a:spcPts val="1067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1177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3763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75276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12914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9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448733" y="5962651"/>
            <a:ext cx="366184" cy="44661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AF02F228-E029-40E8-85CC-F4F618963DE6}" type="slidenum">
              <a:rPr lang="en-GB" sz="1067">
                <a:solidFill>
                  <a:srgbClr val="000000"/>
                </a:solidFill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000000"/>
              </a:solidFill>
            </a:endParaRPr>
          </a:p>
        </p:txBody>
      </p:sp>
      <p:sp>
        <p:nvSpPr>
          <p:cNvPr id="5" name="Text Placeholder 10"/>
          <p:cNvSpPr txBox="1">
            <a:spLocks/>
          </p:cNvSpPr>
          <p:nvPr userDrawn="1"/>
        </p:nvSpPr>
        <p:spPr>
          <a:xfrm>
            <a:off x="874184" y="5956301"/>
            <a:ext cx="10869083" cy="45296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4" y="45297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 sz="4000">
                <a:solidFill>
                  <a:srgbClr val="FF6600"/>
                </a:solidFill>
              </a:defRPr>
            </a:lvl1pPr>
            <a:lvl2pPr>
              <a:lnSpc>
                <a:spcPct val="85000"/>
              </a:lnSpc>
              <a:spcAft>
                <a:spcPts val="1067"/>
              </a:spcAft>
              <a:defRPr sz="4000"/>
            </a:lvl2pPr>
            <a:lvl3pPr>
              <a:lnSpc>
                <a:spcPct val="85000"/>
              </a:lnSpc>
              <a:spcAft>
                <a:spcPts val="1067"/>
              </a:spcAft>
              <a:defRPr sz="1867"/>
            </a:lvl3pPr>
            <a:lvl4pPr>
              <a:lnSpc>
                <a:spcPct val="85000"/>
              </a:lnSpc>
              <a:spcAft>
                <a:spcPts val="1067"/>
              </a:spcAft>
              <a:defRPr sz="1867"/>
            </a:lvl4pPr>
            <a:lvl5pPr>
              <a:lnSpc>
                <a:spcPct val="85000"/>
              </a:lnSpc>
              <a:spcAft>
                <a:spcPts val="1067"/>
              </a:spcAft>
              <a:defRPr sz="1867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342637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 txBox="1">
            <a:spLocks/>
          </p:cNvSpPr>
          <p:nvPr userDrawn="1"/>
        </p:nvSpPr>
        <p:spPr>
          <a:xfrm>
            <a:off x="448733" y="5962651"/>
            <a:ext cx="366184" cy="446616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6F8F0571-DE46-441D-AAF0-547472D6BE38}" type="slidenum">
              <a:rPr lang="en-GB" sz="1067">
                <a:solidFill>
                  <a:srgbClr val="000000"/>
                </a:solidFill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000000"/>
              </a:solidFill>
            </a:endParaRPr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874184" y="5956301"/>
            <a:ext cx="10869083" cy="45296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</a:rPr>
              <a:t>Orange Restrict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1067"/>
              </a:spcAft>
              <a:defRPr>
                <a:solidFill>
                  <a:srgbClr val="FF66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389528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8634747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"/>
          <p:cNvSpPr>
            <a:spLocks noGrp="1"/>
          </p:cNvSpPr>
          <p:nvPr>
            <p:ph type="ctrTitle" hasCustomPrompt="1"/>
          </p:nvPr>
        </p:nvSpPr>
        <p:spPr>
          <a:xfrm>
            <a:off x="416985" y="414529"/>
            <a:ext cx="11362265" cy="3474849"/>
          </a:xfrm>
          <a:prstGeom prst="rect">
            <a:avLst/>
          </a:prstGeom>
        </p:spPr>
        <p:txBody>
          <a:bodyPr wrap="square" bIns="0" anchor="t">
            <a:norm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7333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Click to</a:t>
            </a:r>
            <a:br>
              <a:rPr lang="en-GB" noProof="0" dirty="0" smtClean="0"/>
            </a:br>
            <a:r>
              <a:rPr lang="en-GB" noProof="0" dirty="0" smtClean="0"/>
              <a:t>edit title</a:t>
            </a:r>
            <a:endParaRPr lang="en-GB" noProof="0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0947427" y="5614416"/>
            <a:ext cx="829056" cy="829056"/>
            <a:chOff x="360362" y="1781889"/>
            <a:chExt cx="1144765" cy="1144191"/>
          </a:xfrm>
        </p:grpSpPr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>
                <a:defRPr/>
              </a:pPr>
              <a:endParaRPr lang="en-GB" sz="2400" kern="0" dirty="0">
                <a:solidFill>
                  <a:sysClr val="windowText" lastClr="000000"/>
                </a:solidFill>
                <a:latin typeface="Helvetica 75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8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4527" y="4306254"/>
            <a:ext cx="11364724" cy="894397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presenter name and date</a:t>
            </a:r>
          </a:p>
        </p:txBody>
      </p:sp>
    </p:spTree>
    <p:extLst>
      <p:ext uri="{BB962C8B-B14F-4D97-AF65-F5344CB8AC3E}">
        <p14:creationId xmlns:p14="http://schemas.microsoft.com/office/powerpoint/2010/main" val="1736513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4528" y="4306253"/>
            <a:ext cx="7468281" cy="1309264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text</a:t>
            </a:r>
          </a:p>
        </p:txBody>
      </p:sp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416985" y="414529"/>
            <a:ext cx="7465824" cy="3474849"/>
          </a:xfrm>
          <a:prstGeom prst="rect">
            <a:avLst/>
          </a:prstGeom>
        </p:spPr>
        <p:txBody>
          <a:bodyPr wrap="square" bIns="0" anchor="t">
            <a:norm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7333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Click to</a:t>
            </a:r>
            <a:br>
              <a:rPr lang="en-GB" noProof="0" dirty="0" smtClean="0"/>
            </a:br>
            <a:r>
              <a:rPr lang="en-GB" noProof="0" dirty="0" smtClean="0"/>
              <a:t>edit title</a:t>
            </a:r>
            <a:endParaRPr lang="en-GB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38" y="414528"/>
            <a:ext cx="3481913" cy="5200989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1600" baseline="0"/>
            </a:lvl1pPr>
            <a:lvl2pPr marL="0" indent="0">
              <a:spcAft>
                <a:spcPts val="0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1600" baseline="0"/>
            </a:lvl2pPr>
            <a:lvl3pPr marL="0" indent="0">
              <a:spcAft>
                <a:spcPts val="400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2133" baseline="0">
                <a:solidFill>
                  <a:srgbClr val="8F8F8F"/>
                </a:solidFill>
              </a:defRPr>
            </a:lvl3pPr>
            <a:lvl4pPr marL="838179" indent="0">
              <a:buNone/>
              <a:defRPr/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2841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4" y="414867"/>
            <a:ext cx="7465824" cy="836084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sz="2133" baseline="0">
                <a:solidFill>
                  <a:srgbClr val="FF6600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38" y="414528"/>
            <a:ext cx="3481913" cy="5200989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1600" baseline="0"/>
            </a:lvl1pPr>
            <a:lvl2pPr marL="0" indent="0">
              <a:spcAft>
                <a:spcPts val="0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1600" baseline="0"/>
            </a:lvl2pPr>
            <a:lvl3pPr marL="0" indent="0">
              <a:spcAft>
                <a:spcPts val="400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2133" baseline="0">
                <a:solidFill>
                  <a:srgbClr val="8F8F8F"/>
                </a:solidFill>
              </a:defRPr>
            </a:lvl3pPr>
            <a:lvl4pPr marL="838179" indent="0">
              <a:buNone/>
              <a:defRPr/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</p:txBody>
      </p:sp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416985" y="1670051"/>
            <a:ext cx="7465824" cy="3945467"/>
          </a:xfrm>
          <a:prstGeom prst="rect">
            <a:avLst/>
          </a:prstGeom>
        </p:spPr>
        <p:txBody>
          <a:bodyPr wrap="square" bIns="0" anchor="t">
            <a:norm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7333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Click to</a:t>
            </a:r>
            <a:br>
              <a:rPr lang="en-GB" noProof="0" dirty="0" smtClean="0"/>
            </a:br>
            <a:r>
              <a:rPr lang="en-GB" noProof="0" dirty="0" smtClean="0"/>
              <a:t>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466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5" y="1670051"/>
            <a:ext cx="11362265" cy="3530600"/>
          </a:xfrm>
        </p:spPr>
        <p:txBody>
          <a:bodyPr wrap="square">
            <a:normAutofit/>
          </a:bodyPr>
          <a:lstStyle>
            <a:lvl1pPr>
              <a:defRPr baseline="0">
                <a:latin typeface="Helvetica 75" panose="020B0804020202020204" pitchFamily="34" charset="0"/>
              </a:defRPr>
            </a:lvl1pPr>
            <a:lvl2pPr>
              <a:defRPr>
                <a:latin typeface="Helvetica 75" panose="020B0804020202020204" pitchFamily="34" charset="0"/>
              </a:defRPr>
            </a:lvl2pPr>
            <a:lvl3pPr>
              <a:defRPr>
                <a:latin typeface="Helvetica 75" panose="020B0804020202020204" pitchFamily="34" charset="0"/>
              </a:defRPr>
            </a:lvl3pPr>
            <a:lvl4pPr>
              <a:defRPr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10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753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5" y="1670051"/>
            <a:ext cx="5473700" cy="3530600"/>
          </a:xfrm>
        </p:spPr>
        <p:txBody>
          <a:bodyPr wrap="square">
            <a:normAutofit/>
          </a:bodyPr>
          <a:lstStyle>
            <a:lvl1pPr>
              <a:defRPr sz="1600" baseline="0">
                <a:latin typeface="Helvetica 75" panose="020B0804020202020204" pitchFamily="34" charset="0"/>
              </a:defRPr>
            </a:lvl1pPr>
            <a:lvl2pPr>
              <a:defRPr sz="1600">
                <a:latin typeface="Helvetica 75" panose="020B0804020202020204" pitchFamily="34" charset="0"/>
              </a:defRPr>
            </a:lvl2pPr>
            <a:lvl3pPr>
              <a:defRPr sz="1600">
                <a:latin typeface="Helvetica 75" panose="020B0804020202020204" pitchFamily="34" charset="0"/>
              </a:defRPr>
            </a:lvl3pPr>
            <a:lvl4pPr>
              <a:defRPr sz="1600"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301318" y="1670051"/>
            <a:ext cx="5473700" cy="3530600"/>
          </a:xfrm>
        </p:spPr>
        <p:txBody>
          <a:bodyPr wrap="square">
            <a:normAutofit/>
          </a:bodyPr>
          <a:lstStyle>
            <a:lvl1pPr>
              <a:defRPr sz="1600" baseline="0">
                <a:latin typeface="Helvetica 75" panose="020B0804020202020204" pitchFamily="34" charset="0"/>
              </a:defRPr>
            </a:lvl1pPr>
            <a:lvl2pPr>
              <a:defRPr sz="1600">
                <a:latin typeface="Helvetica 75" panose="020B0804020202020204" pitchFamily="34" charset="0"/>
              </a:defRPr>
            </a:lvl2pPr>
            <a:lvl3pPr>
              <a:defRPr sz="1600">
                <a:latin typeface="Helvetica 75" panose="020B0804020202020204" pitchFamily="34" charset="0"/>
              </a:defRPr>
            </a:lvl3pPr>
            <a:lvl4pPr>
              <a:defRPr sz="1600"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765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5" y="1670051"/>
            <a:ext cx="3509243" cy="3530599"/>
          </a:xfrm>
        </p:spPr>
        <p:txBody>
          <a:bodyPr wrap="square">
            <a:normAutofit/>
          </a:bodyPr>
          <a:lstStyle>
            <a:lvl1pPr>
              <a:defRPr sz="1600" baseline="0">
                <a:latin typeface="Helvetica 75" panose="020B0804020202020204" pitchFamily="34" charset="0"/>
              </a:defRPr>
            </a:lvl1pPr>
            <a:lvl2pPr>
              <a:defRPr sz="1600">
                <a:latin typeface="Helvetica 75" panose="020B0804020202020204" pitchFamily="34" charset="0"/>
              </a:defRPr>
            </a:lvl2pPr>
            <a:lvl3pPr>
              <a:defRPr sz="1600">
                <a:latin typeface="Helvetica 75" panose="020B0804020202020204" pitchFamily="34" charset="0"/>
              </a:defRPr>
            </a:lvl3pPr>
            <a:lvl4pPr>
              <a:defRPr sz="1600"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343496" y="1670051"/>
            <a:ext cx="3509243" cy="3530599"/>
          </a:xfrm>
        </p:spPr>
        <p:txBody>
          <a:bodyPr wrap="square">
            <a:normAutofit/>
          </a:bodyPr>
          <a:lstStyle>
            <a:lvl1pPr>
              <a:defRPr sz="1600" baseline="0">
                <a:latin typeface="Helvetica 75" panose="020B0804020202020204" pitchFamily="34" charset="0"/>
              </a:defRPr>
            </a:lvl1pPr>
            <a:lvl2pPr>
              <a:defRPr sz="1600">
                <a:latin typeface="Helvetica 75" panose="020B0804020202020204" pitchFamily="34" charset="0"/>
              </a:defRPr>
            </a:lvl2pPr>
            <a:lvl3pPr>
              <a:defRPr sz="1600">
                <a:latin typeface="Helvetica 75" panose="020B0804020202020204" pitchFamily="34" charset="0"/>
              </a:defRPr>
            </a:lvl3pPr>
            <a:lvl4pPr>
              <a:defRPr sz="1600"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8270007" y="1670051"/>
            <a:ext cx="3509243" cy="3530599"/>
          </a:xfrm>
        </p:spPr>
        <p:txBody>
          <a:bodyPr wrap="square">
            <a:normAutofit/>
          </a:bodyPr>
          <a:lstStyle>
            <a:lvl1pPr>
              <a:defRPr sz="1600" baseline="0">
                <a:latin typeface="Helvetica 75" panose="020B0804020202020204" pitchFamily="34" charset="0"/>
              </a:defRPr>
            </a:lvl1pPr>
            <a:lvl2pPr>
              <a:defRPr sz="1600">
                <a:latin typeface="Helvetica 75" panose="020B0804020202020204" pitchFamily="34" charset="0"/>
              </a:defRPr>
            </a:lvl2pPr>
            <a:lvl3pPr>
              <a:defRPr sz="1600">
                <a:latin typeface="Helvetica 75" panose="020B0804020202020204" pitchFamily="34" charset="0"/>
              </a:defRPr>
            </a:lvl3pPr>
            <a:lvl4pPr>
              <a:defRPr sz="1600"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4" y="1670052"/>
            <a:ext cx="11362267" cy="35306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Aft>
                <a:spcPts val="3333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400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>
              <a:defRPr>
                <a:latin typeface="Helvetica 75" panose="020B0804020202020204" pitchFamily="34" charset="0"/>
              </a:defRPr>
            </a:lvl2pPr>
            <a:lvl3pPr>
              <a:defRPr>
                <a:latin typeface="Helvetica 75" panose="020B0804020202020204" pitchFamily="34" charset="0"/>
              </a:defRPr>
            </a:lvl3pPr>
            <a:lvl4pPr>
              <a:defRPr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4678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565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4" y="414868"/>
            <a:ext cx="11362267" cy="4785785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Aft>
                <a:spcPts val="3333"/>
              </a:spcAft>
              <a:buClr>
                <a:schemeClr val="bg1"/>
              </a:buClr>
              <a:buSzPct val="25000"/>
              <a:buFont typeface="Helvetica 75" panose="020B0804020202020204" pitchFamily="34" charset="0"/>
              <a:buChar char="i"/>
              <a:defRPr sz="400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>
              <a:defRPr>
                <a:latin typeface="Helvetica 75" panose="020B0804020202020204" pitchFamily="34" charset="0"/>
              </a:defRPr>
            </a:lvl2pPr>
            <a:lvl3pPr>
              <a:defRPr>
                <a:latin typeface="Helvetica 75" panose="020B0804020202020204" pitchFamily="34" charset="0"/>
              </a:defRPr>
            </a:lvl3pPr>
            <a:lvl4pPr>
              <a:defRPr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2183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57" name="Content Placeholder 6"/>
          <p:cNvSpPr>
            <a:spLocks noGrp="1"/>
          </p:cNvSpPr>
          <p:nvPr>
            <p:ph sz="quarter" idx="20"/>
          </p:nvPr>
        </p:nvSpPr>
        <p:spPr>
          <a:xfrm>
            <a:off x="415737" y="1670051"/>
            <a:ext cx="3510492" cy="2473301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415737" y="4557880"/>
            <a:ext cx="3510491" cy="642771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45"/>
          </p:nvPr>
        </p:nvSpPr>
        <p:spPr>
          <a:xfrm>
            <a:off x="4346465" y="1670051"/>
            <a:ext cx="3510492" cy="2473301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4346465" y="4557880"/>
            <a:ext cx="3510492" cy="642771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47"/>
          </p:nvPr>
        </p:nvSpPr>
        <p:spPr>
          <a:xfrm>
            <a:off x="8268759" y="1670051"/>
            <a:ext cx="3510492" cy="2473301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8268759" y="4557880"/>
            <a:ext cx="3510492" cy="642771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5666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20"/>
          </p:nvPr>
        </p:nvSpPr>
        <p:spPr>
          <a:xfrm>
            <a:off x="415737" y="1670051"/>
            <a:ext cx="2514939" cy="1771973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415737" y="3856552"/>
            <a:ext cx="2514939" cy="1344099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45" name="Content Placeholder 6"/>
          <p:cNvSpPr>
            <a:spLocks noGrp="1"/>
          </p:cNvSpPr>
          <p:nvPr>
            <p:ph sz="quarter" idx="49"/>
          </p:nvPr>
        </p:nvSpPr>
        <p:spPr>
          <a:xfrm>
            <a:off x="3362547" y="1670051"/>
            <a:ext cx="2514939" cy="1771973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3362547" y="3856552"/>
            <a:ext cx="2514939" cy="1344099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52" name="Content Placeholder 6"/>
          <p:cNvSpPr>
            <a:spLocks noGrp="1"/>
          </p:cNvSpPr>
          <p:nvPr>
            <p:ph sz="quarter" idx="51"/>
          </p:nvPr>
        </p:nvSpPr>
        <p:spPr>
          <a:xfrm>
            <a:off x="6301317" y="1670051"/>
            <a:ext cx="2514939" cy="1771973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sz="quarter" idx="52" hasCustomPrompt="1"/>
          </p:nvPr>
        </p:nvSpPr>
        <p:spPr>
          <a:xfrm>
            <a:off x="6301317" y="3856552"/>
            <a:ext cx="2514939" cy="1344099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54" name="Content Placeholder 6"/>
          <p:cNvSpPr>
            <a:spLocks noGrp="1"/>
          </p:cNvSpPr>
          <p:nvPr>
            <p:ph sz="quarter" idx="53"/>
          </p:nvPr>
        </p:nvSpPr>
        <p:spPr>
          <a:xfrm>
            <a:off x="9271255" y="1670051"/>
            <a:ext cx="2514939" cy="1771973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sz="quarter" idx="54" hasCustomPrompt="1"/>
          </p:nvPr>
        </p:nvSpPr>
        <p:spPr>
          <a:xfrm>
            <a:off x="9271255" y="3856552"/>
            <a:ext cx="2514939" cy="1344099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230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45"/>
          </p:nvPr>
        </p:nvSpPr>
        <p:spPr>
          <a:xfrm>
            <a:off x="4346465" y="1670051"/>
            <a:ext cx="3510492" cy="2473301"/>
          </a:xfrm>
        </p:spPr>
        <p:txBody>
          <a:bodyPr>
            <a:normAutofit/>
          </a:bodyPr>
          <a:lstStyle>
            <a:lvl1pPr marL="0" indent="0"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4346465" y="4557880"/>
            <a:ext cx="3510492" cy="642771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47"/>
          </p:nvPr>
        </p:nvSpPr>
        <p:spPr>
          <a:xfrm>
            <a:off x="8268759" y="1670051"/>
            <a:ext cx="3510492" cy="2473301"/>
          </a:xfrm>
        </p:spPr>
        <p:txBody>
          <a:bodyPr>
            <a:normAutofit/>
          </a:bodyPr>
          <a:lstStyle>
            <a:lvl1pPr marL="0" indent="0"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8268759" y="4557880"/>
            <a:ext cx="3510492" cy="642771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5" y="1670051"/>
            <a:ext cx="3509244" cy="3530600"/>
          </a:xfrm>
        </p:spPr>
        <p:txBody>
          <a:bodyPr wrap="square">
            <a:normAutofit/>
          </a:bodyPr>
          <a:lstStyle>
            <a:lvl1pPr>
              <a:defRPr baseline="0">
                <a:latin typeface="Helvetica 75" panose="020B0804020202020204" pitchFamily="34" charset="0"/>
              </a:defRPr>
            </a:lvl1pPr>
            <a:lvl2pPr>
              <a:defRPr>
                <a:latin typeface="Helvetica 75" panose="020B0804020202020204" pitchFamily="34" charset="0"/>
              </a:defRPr>
            </a:lvl2pPr>
            <a:lvl3pPr>
              <a:defRPr>
                <a:latin typeface="Helvetica 75" panose="020B0804020202020204" pitchFamily="34" charset="0"/>
              </a:defRPr>
            </a:lvl3pPr>
            <a:lvl4pPr>
              <a:defRPr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3266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47"/>
          </p:nvPr>
        </p:nvSpPr>
        <p:spPr>
          <a:xfrm>
            <a:off x="8268759" y="1670051"/>
            <a:ext cx="3510492" cy="2473301"/>
          </a:xfrm>
        </p:spPr>
        <p:txBody>
          <a:bodyPr>
            <a:normAutofit/>
          </a:bodyPr>
          <a:lstStyle>
            <a:lvl1pPr marL="0" indent="0">
              <a:spcAft>
                <a:spcPts val="0"/>
              </a:spcAft>
              <a:buNone/>
              <a:defRPr sz="133"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8268759" y="4557880"/>
            <a:ext cx="3510492" cy="642771"/>
          </a:xfrm>
        </p:spPr>
        <p:txBody>
          <a:bodyPr wrap="square">
            <a:normAutofit/>
          </a:bodyPr>
          <a:lstStyle>
            <a:lvl1pPr marL="0" indent="0"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>
                <a:solidFill>
                  <a:schemeClr val="tx1"/>
                </a:solidFill>
              </a:defRPr>
            </a:lvl2pPr>
            <a:lvl3pPr marL="535504" indent="0">
              <a:buNone/>
              <a:defRPr>
                <a:solidFill>
                  <a:schemeClr val="tx1"/>
                </a:solidFill>
              </a:defRPr>
            </a:lvl3pPr>
            <a:lvl4pPr marL="838179" indent="0">
              <a:buNone/>
              <a:defRPr>
                <a:solidFill>
                  <a:schemeClr val="tx1"/>
                </a:solidFill>
              </a:defRPr>
            </a:lvl4pPr>
            <a:lvl5pPr marL="114085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5" y="1670051"/>
            <a:ext cx="7439972" cy="3530600"/>
          </a:xfrm>
        </p:spPr>
        <p:txBody>
          <a:bodyPr wrap="square">
            <a:normAutofit/>
          </a:bodyPr>
          <a:lstStyle>
            <a:lvl1pPr>
              <a:defRPr baseline="0">
                <a:latin typeface="Helvetica 75" panose="020B0804020202020204" pitchFamily="34" charset="0"/>
              </a:defRPr>
            </a:lvl1pPr>
            <a:lvl2pPr>
              <a:defRPr>
                <a:latin typeface="Helvetica 75" panose="020B0804020202020204" pitchFamily="34" charset="0"/>
              </a:defRPr>
            </a:lvl2pPr>
            <a:lvl3pPr>
              <a:defRPr>
                <a:latin typeface="Helvetica 75" panose="020B0804020202020204" pitchFamily="34" charset="0"/>
              </a:defRPr>
            </a:lvl3pPr>
            <a:lvl4pPr>
              <a:defRPr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11358032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2898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5473700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6985" y="1670051"/>
            <a:ext cx="5473700" cy="3530600"/>
          </a:xfrm>
        </p:spPr>
        <p:txBody>
          <a:bodyPr wrap="square">
            <a:normAutofit/>
          </a:bodyPr>
          <a:lstStyle>
            <a:lvl1pPr>
              <a:defRPr baseline="0">
                <a:latin typeface="Helvetica 75" panose="020B0804020202020204" pitchFamily="34" charset="0"/>
              </a:defRPr>
            </a:lvl1pPr>
            <a:lvl2pPr>
              <a:defRPr>
                <a:latin typeface="Helvetica 75" panose="020B0804020202020204" pitchFamily="34" charset="0"/>
              </a:defRPr>
            </a:lvl2pPr>
            <a:lvl3pPr>
              <a:defRPr>
                <a:latin typeface="Helvetica 75" panose="020B0804020202020204" pitchFamily="34" charset="0"/>
              </a:defRPr>
            </a:lvl3pPr>
            <a:lvl4pPr>
              <a:defRPr>
                <a:latin typeface="Helvetica 75" panose="020B0804020202020204" pitchFamily="34" charset="0"/>
              </a:defRPr>
            </a:lvl4pPr>
          </a:lstStyle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1"/>
          </p:nvPr>
        </p:nvSpPr>
        <p:spPr>
          <a:xfrm>
            <a:off x="6301317" y="0"/>
            <a:ext cx="5890683" cy="6858000"/>
          </a:xfrm>
        </p:spPr>
        <p:txBody>
          <a:bodyPr>
            <a:norm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5473699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88072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9"/>
            <a:ext cx="5059172" cy="2246032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000">
                <a:solidFill>
                  <a:schemeClr val="tx1"/>
                </a:solidFill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4527" y="3081310"/>
            <a:ext cx="5061629" cy="2119681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sz="1600" baseline="0">
                <a:solidFill>
                  <a:schemeClr val="tx1"/>
                </a:solidFill>
                <a:latin typeface="Helvetica 75" panose="020B08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tex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6985" y="5615518"/>
            <a:ext cx="5059171" cy="416981"/>
          </a:xfrm>
        </p:spPr>
        <p:txBody>
          <a:bodyPr anchor="b">
            <a:normAutofit/>
          </a:bodyPr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None/>
              <a:tabLst/>
              <a:defRPr sz="1067">
                <a:solidFill>
                  <a:schemeClr val="tx1"/>
                </a:solidFill>
                <a:latin typeface="Helvetica 75" panose="020B0804020202020204" pitchFamily="34" charset="0"/>
              </a:defRPr>
            </a:lvl1pPr>
            <a:lvl2pPr marL="302675" indent="0">
              <a:buNone/>
              <a:defRPr sz="1333">
                <a:solidFill>
                  <a:schemeClr val="tx1"/>
                </a:solidFill>
              </a:defRPr>
            </a:lvl2pPr>
            <a:lvl3pPr marL="535504" indent="0">
              <a:buNone/>
              <a:defRPr sz="1333">
                <a:solidFill>
                  <a:schemeClr val="tx1"/>
                </a:solidFill>
              </a:defRPr>
            </a:lvl3pPr>
            <a:lvl4pPr marL="838179" indent="0">
              <a:buNone/>
              <a:defRPr sz="1333">
                <a:solidFill>
                  <a:schemeClr val="tx1"/>
                </a:solidFill>
              </a:defRPr>
            </a:lvl4pPr>
            <a:lvl5pPr marL="1140855" indent="0"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 smtClean="0"/>
              <a:t>Click to edit sour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12438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Helvetica 75" panose="020B0804020202020204" pitchFamily="34" charset="0"/>
              </a:defRPr>
            </a:lvl1pPr>
          </a:lstStyle>
          <a:p>
            <a:r>
              <a:rPr lang="fr-FR" smtClean="0"/>
              <a:t>Cliquez sur l'icône pour ajouter l'élément multimédia</a:t>
            </a:r>
            <a:endParaRPr lang="en-GB" dirty="0"/>
          </a:p>
        </p:txBody>
      </p:sp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>
                <a:latin typeface="Helvetica 75" panose="020B0804020202020204" pitchFamily="34" charset="0"/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011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Illustration colour palette</a:t>
            </a:r>
            <a:endParaRPr lang="en-GB" noProof="0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338014" y="1841594"/>
            <a:ext cx="1224036" cy="1075340"/>
          </a:xfrm>
          <a:prstGeom prst="rect">
            <a:avLst/>
          </a:prstGeom>
          <a:solidFill>
            <a:srgbClr val="085EBD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8/94/189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338014" y="3224174"/>
            <a:ext cx="1224036" cy="1075340"/>
          </a:xfrm>
          <a:prstGeom prst="rect">
            <a:avLst/>
          </a:prstGeom>
          <a:solidFill>
            <a:srgbClr val="4BB4E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75/180/230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338014" y="4606754"/>
            <a:ext cx="1224036" cy="1075340"/>
          </a:xfrm>
          <a:prstGeom prst="rect">
            <a:avLst/>
          </a:prstGeom>
          <a:solidFill>
            <a:srgbClr val="B5E8F7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181/232/247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2874213" y="1841594"/>
            <a:ext cx="1224036" cy="1075340"/>
          </a:xfrm>
          <a:prstGeom prst="rect">
            <a:avLst/>
          </a:prstGeom>
          <a:solidFill>
            <a:srgbClr val="FFB400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55/180/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874214" y="3224174"/>
            <a:ext cx="1224036" cy="1075340"/>
          </a:xfrm>
          <a:prstGeom prst="rect">
            <a:avLst/>
          </a:prstGeom>
          <a:solidFill>
            <a:srgbClr val="FADC00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55/220/0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2874214" y="4606754"/>
            <a:ext cx="1224036" cy="1075340"/>
          </a:xfrm>
          <a:prstGeom prst="rect">
            <a:avLst/>
          </a:prstGeom>
          <a:solidFill>
            <a:srgbClr val="FFF6B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181/232/247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410414" y="1841594"/>
            <a:ext cx="1224036" cy="1075340"/>
          </a:xfrm>
          <a:prstGeom prst="rect">
            <a:avLst/>
          </a:prstGeom>
          <a:solidFill>
            <a:srgbClr val="0A6E3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10/110/49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410414" y="3224174"/>
            <a:ext cx="1224036" cy="1075340"/>
          </a:xfrm>
          <a:prstGeom prst="rect">
            <a:avLst/>
          </a:prstGeom>
          <a:solidFill>
            <a:srgbClr val="50BE87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80/190/135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4410414" y="4606754"/>
            <a:ext cx="1224036" cy="1075340"/>
          </a:xfrm>
          <a:prstGeom prst="rect">
            <a:avLst/>
          </a:prstGeom>
          <a:solidFill>
            <a:srgbClr val="B8EBD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184/235/214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5946614" y="1841594"/>
            <a:ext cx="1224036" cy="1075340"/>
          </a:xfrm>
          <a:prstGeom prst="rect">
            <a:avLst/>
          </a:prstGeom>
          <a:solidFill>
            <a:srgbClr val="49219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73/33/145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5946614" y="3224174"/>
            <a:ext cx="1224036" cy="1075340"/>
          </a:xfrm>
          <a:prstGeom prst="rect">
            <a:avLst/>
          </a:prstGeom>
          <a:solidFill>
            <a:srgbClr val="9164CD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145/100/205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46614" y="4606754"/>
            <a:ext cx="1224036" cy="1075340"/>
          </a:xfrm>
          <a:prstGeom prst="rect">
            <a:avLst/>
          </a:prstGeom>
          <a:solidFill>
            <a:srgbClr val="D9C2F0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17/194/240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7482814" y="1841594"/>
            <a:ext cx="1224036" cy="1075340"/>
          </a:xfrm>
          <a:prstGeom prst="rect">
            <a:avLst/>
          </a:prstGeom>
          <a:solidFill>
            <a:srgbClr val="FF8AD4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55/138/212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7482814" y="3224174"/>
            <a:ext cx="1224036" cy="1075340"/>
          </a:xfrm>
          <a:prstGeom prst="rect">
            <a:avLst/>
          </a:prstGeom>
          <a:solidFill>
            <a:srgbClr val="FFB4E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55/180/230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482814" y="4606754"/>
            <a:ext cx="1224036" cy="1075340"/>
          </a:xfrm>
          <a:prstGeom prst="rect">
            <a:avLst/>
          </a:prstGeom>
          <a:solidFill>
            <a:srgbClr val="FFE8F7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55/232/247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9019014" y="1841594"/>
            <a:ext cx="1224036" cy="1075340"/>
          </a:xfrm>
          <a:prstGeom prst="rect">
            <a:avLst/>
          </a:prstGeom>
          <a:solidFill>
            <a:srgbClr val="595959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89/89/89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9019014" y="3224174"/>
            <a:ext cx="1224036" cy="1075340"/>
          </a:xfrm>
          <a:prstGeom prst="rect">
            <a:avLst/>
          </a:prstGeom>
          <a:solidFill>
            <a:srgbClr val="8F8F8F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143/143/143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9019014" y="4606754"/>
            <a:ext cx="1224036" cy="1075340"/>
          </a:xfrm>
          <a:prstGeom prst="rect">
            <a:avLst/>
          </a:prstGeom>
          <a:solidFill>
            <a:srgbClr val="D6D6D6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14/214/21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10555214" y="1841594"/>
            <a:ext cx="1224036" cy="1075340"/>
          </a:xfrm>
          <a:prstGeom prst="rect">
            <a:avLst/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white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white"/>
                </a:solidFill>
                <a:latin typeface="Helvetica 75" panose="020B0804020202020204" pitchFamily="34" charset="0"/>
              </a:rPr>
              <a:t>0/0/0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0555214" y="3224174"/>
            <a:ext cx="1224036" cy="1075340"/>
          </a:xfrm>
          <a:prstGeom prst="rect">
            <a:avLst/>
          </a:prstGeom>
          <a:solidFill>
            <a:schemeClr val="tx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55/255/255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10555214" y="4606754"/>
            <a:ext cx="1224036" cy="1075340"/>
          </a:xfrm>
          <a:prstGeom prst="rect">
            <a:avLst/>
          </a:prstGeom>
          <a:solidFill>
            <a:srgbClr val="FF6600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2192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RGB</a:t>
            </a:r>
          </a:p>
          <a:p>
            <a:r>
              <a:rPr lang="en-GB" sz="1333" dirty="0">
                <a:solidFill>
                  <a:prstClr val="black"/>
                </a:solidFill>
                <a:latin typeface="Helvetica 75" panose="020B0804020202020204" pitchFamily="34" charset="0"/>
              </a:rPr>
              <a:t>255/102/0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393825" y="1841594"/>
            <a:ext cx="1224036" cy="10753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white"/>
                </a:solidFill>
                <a:latin typeface="Helvetica 75" panose="020B0804020202020204" pitchFamily="34" charset="0"/>
              </a:rPr>
              <a:t>Darker 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93825" y="3224173"/>
            <a:ext cx="1224036" cy="10753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white"/>
                </a:solidFill>
                <a:latin typeface="Helvetica 75" panose="020B0804020202020204" pitchFamily="34" charset="0"/>
              </a:rPr>
              <a:t>Support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393825" y="4606754"/>
            <a:ext cx="1224036" cy="10753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white"/>
                </a:solidFill>
                <a:latin typeface="Helvetica 75" panose="020B0804020202020204" pitchFamily="34" charset="0"/>
              </a:rPr>
              <a:t>Lighter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9019014" y="1534354"/>
            <a:ext cx="2760236" cy="1382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33" dirty="0">
                <a:solidFill>
                  <a:prstClr val="white"/>
                </a:solidFill>
                <a:latin typeface="Helvetica 75" panose="020B0804020202020204" pitchFamily="34" charset="0"/>
              </a:rPr>
              <a:t>Core</a:t>
            </a:r>
          </a:p>
        </p:txBody>
      </p:sp>
    </p:spTree>
    <p:extLst>
      <p:ext uri="{BB962C8B-B14F-4D97-AF65-F5344CB8AC3E}">
        <p14:creationId xmlns:p14="http://schemas.microsoft.com/office/powerpoint/2010/main" val="219635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Pie chart</a:t>
            </a:r>
            <a:endParaRPr lang="en-GB" noProof="0" dirty="0"/>
          </a:p>
        </p:txBody>
      </p:sp>
      <p:graphicFrame>
        <p:nvGraphicFramePr>
          <p:cNvPr id="3" name="Chart 2"/>
          <p:cNvGraphicFramePr/>
          <p:nvPr userDrawn="1">
            <p:extLst/>
          </p:nvPr>
        </p:nvGraphicFramePr>
        <p:xfrm>
          <a:off x="0" y="1675063"/>
          <a:ext cx="5491747" cy="4039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1" name="Chart 30"/>
          <p:cNvGraphicFramePr/>
          <p:nvPr userDrawn="1">
            <p:extLst/>
          </p:nvPr>
        </p:nvGraphicFramePr>
        <p:xfrm>
          <a:off x="6328560" y="612633"/>
          <a:ext cx="5491747" cy="5762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0942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62995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Bar chart 1</a:t>
            </a:r>
            <a:endParaRPr lang="en-GB" noProof="0" dirty="0"/>
          </a:p>
        </p:txBody>
      </p:sp>
      <p:graphicFrame>
        <p:nvGraphicFramePr>
          <p:cNvPr id="3" name="Chart 2"/>
          <p:cNvGraphicFramePr/>
          <p:nvPr userDrawn="1">
            <p:extLst/>
          </p:nvPr>
        </p:nvGraphicFramePr>
        <p:xfrm>
          <a:off x="416984" y="1675063"/>
          <a:ext cx="11362264" cy="4039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Placeholder 4"/>
          <p:cNvSpPr txBox="1">
            <a:spLocks/>
          </p:cNvSpPr>
          <p:nvPr userDrawn="1"/>
        </p:nvSpPr>
        <p:spPr>
          <a:xfrm rot="16200000">
            <a:off x="474539" y="4195935"/>
            <a:ext cx="1727160" cy="442652"/>
          </a:xfrm>
          <a:prstGeom prst="rect">
            <a:avLst/>
          </a:prstGeom>
        </p:spPr>
        <p:txBody>
          <a:bodyPr vert="horz" wrap="square" lIns="12192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spcAft>
                <a:spcPts val="300"/>
              </a:spcAft>
              <a:buNone/>
              <a:defRPr lang="fr-FR" sz="1600" kern="1200" baseline="0">
                <a:solidFill>
                  <a:srgbClr val="FF6600"/>
                </a:solidFill>
                <a:latin typeface="Helvetica 75" panose="020B0804020202020204" pitchFamily="34" charset="0"/>
                <a:ea typeface="+mj-ea"/>
                <a:cs typeface="+mj-cs"/>
              </a:defRPr>
            </a:lvl1pPr>
          </a:lstStyle>
          <a:p>
            <a:r>
              <a:rPr lang="en-GB" sz="1333" dirty="0" smtClean="0">
                <a:solidFill>
                  <a:prstClr val="black"/>
                </a:solidFill>
              </a:rPr>
              <a:t>Europe</a:t>
            </a:r>
            <a:endParaRPr lang="en-GB" sz="1333" dirty="0">
              <a:solidFill>
                <a:prstClr val="black"/>
              </a:solidFill>
            </a:endParaRPr>
          </a:p>
        </p:txBody>
      </p:sp>
      <p:sp>
        <p:nvSpPr>
          <p:cNvPr id="6" name="Title Placeholder 4"/>
          <p:cNvSpPr txBox="1">
            <a:spLocks/>
          </p:cNvSpPr>
          <p:nvPr userDrawn="1"/>
        </p:nvSpPr>
        <p:spPr>
          <a:xfrm rot="16200000">
            <a:off x="972061" y="4210479"/>
            <a:ext cx="1735412" cy="421816"/>
          </a:xfrm>
          <a:prstGeom prst="rect">
            <a:avLst/>
          </a:prstGeom>
        </p:spPr>
        <p:txBody>
          <a:bodyPr vert="horz" wrap="square" lIns="12192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spcAft>
                <a:spcPts val="300"/>
              </a:spcAft>
              <a:buNone/>
              <a:defRPr lang="fr-FR" sz="1600" kern="1200" baseline="0">
                <a:solidFill>
                  <a:srgbClr val="FF6600"/>
                </a:solidFill>
                <a:latin typeface="Helvetica 75" panose="020B0804020202020204" pitchFamily="34" charset="0"/>
                <a:ea typeface="+mj-ea"/>
                <a:cs typeface="+mj-cs"/>
              </a:defRPr>
            </a:lvl1pPr>
          </a:lstStyle>
          <a:p>
            <a:r>
              <a:rPr lang="en-GB" sz="1333" dirty="0" smtClean="0">
                <a:solidFill>
                  <a:prstClr val="white"/>
                </a:solidFill>
              </a:rPr>
              <a:t>AMEA</a:t>
            </a:r>
            <a:endParaRPr lang="en-GB" sz="1333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30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Bar chart 2</a:t>
            </a:r>
            <a:endParaRPr lang="en-GB" noProof="0" dirty="0"/>
          </a:p>
        </p:txBody>
      </p:sp>
      <p:graphicFrame>
        <p:nvGraphicFramePr>
          <p:cNvPr id="3" name="Chart 2"/>
          <p:cNvGraphicFramePr/>
          <p:nvPr userDrawn="1">
            <p:extLst/>
          </p:nvPr>
        </p:nvGraphicFramePr>
        <p:xfrm>
          <a:off x="416983" y="1675063"/>
          <a:ext cx="11362265" cy="4039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5475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Comparative bar chart 1</a:t>
            </a:r>
            <a:endParaRPr lang="en-GB" noProof="0" dirty="0"/>
          </a:p>
        </p:txBody>
      </p:sp>
      <p:graphicFrame>
        <p:nvGraphicFramePr>
          <p:cNvPr id="3" name="Chart 2"/>
          <p:cNvGraphicFramePr/>
          <p:nvPr userDrawn="1">
            <p:extLst/>
          </p:nvPr>
        </p:nvGraphicFramePr>
        <p:xfrm>
          <a:off x="416982" y="1675063"/>
          <a:ext cx="11362267" cy="4039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6014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Comparative bar chart 2</a:t>
            </a:r>
            <a:endParaRPr lang="en-GB" noProof="0" dirty="0"/>
          </a:p>
        </p:txBody>
      </p:sp>
      <p:graphicFrame>
        <p:nvGraphicFramePr>
          <p:cNvPr id="3" name="Chart 2"/>
          <p:cNvGraphicFramePr/>
          <p:nvPr userDrawn="1">
            <p:extLst/>
          </p:nvPr>
        </p:nvGraphicFramePr>
        <p:xfrm>
          <a:off x="416982" y="1675063"/>
          <a:ext cx="11362267" cy="4039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6018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 userDrawn="1">
            <p:extLst/>
          </p:nvPr>
        </p:nvGraphicFramePr>
        <p:xfrm>
          <a:off x="416984" y="1675063"/>
          <a:ext cx="11362264" cy="4039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Line graph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8537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ideo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 hasCustomPrompt="1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>
              <a:spcAft>
                <a:spcPts val="0"/>
              </a:spcAft>
              <a:defRPr sz="2133" baseline="0">
                <a:latin typeface="Helvetica 75" panose="020B0804020202020204" pitchFamily="34" charset="0"/>
              </a:defRPr>
            </a:lvl1pPr>
          </a:lstStyle>
          <a:p>
            <a:r>
              <a:rPr lang="en-GB" noProof="0" dirty="0" smtClean="0"/>
              <a:t>Table</a:t>
            </a:r>
            <a:endParaRPr lang="en-GB" noProof="0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>
            <p:extLst/>
          </p:nvPr>
        </p:nvGraphicFramePr>
        <p:xfrm>
          <a:off x="416976" y="1585561"/>
          <a:ext cx="11362272" cy="3759865"/>
        </p:xfrm>
        <a:graphic>
          <a:graphicData uri="http://schemas.openxmlformats.org/drawingml/2006/table">
            <a:tbl>
              <a:tblPr/>
              <a:tblGrid>
                <a:gridCol w="945397"/>
                <a:gridCol w="945397"/>
                <a:gridCol w="962901"/>
                <a:gridCol w="945397"/>
                <a:gridCol w="945397"/>
                <a:gridCol w="945397"/>
                <a:gridCol w="945397"/>
                <a:gridCol w="945397"/>
                <a:gridCol w="945397"/>
                <a:gridCol w="945397"/>
                <a:gridCol w="945397"/>
                <a:gridCol w="945397"/>
              </a:tblGrid>
              <a:tr h="292373"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marL="0" marR="0" indent="0" algn="l" defTabSz="5143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 smtClean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Media spend only (€)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dirty="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800" dirty="0"/>
                    </a:p>
                  </a:txBody>
                  <a:tcPr marL="7575" marR="7575" marT="7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13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 smtClean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05</a:t>
                      </a:r>
                      <a:endParaRPr lang="en-GB" sz="1200" dirty="0">
                        <a:solidFill>
                          <a:schemeClr val="bg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06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07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08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09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10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11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12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13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14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15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bg1"/>
                          </a:solidFill>
                          <a:latin typeface="Helvetica 75" panose="020B0804020202020204" pitchFamily="34" charset="0"/>
                        </a:rPr>
                        <a:t>2016</a:t>
                      </a:r>
                    </a:p>
                  </a:txBody>
                  <a:tcPr marL="0" marR="0" marT="24000" marB="24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5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4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4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4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B4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lumOff val="15000"/>
                      </a:schemeClr>
                    </a:solidFill>
                  </a:tcPr>
                </a:tc>
              </a:tr>
              <a:tr h="292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87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1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3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3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3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2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19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1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r>
                        <a:rPr lang="en-GB" sz="1200" dirty="0">
                          <a:solidFill>
                            <a:schemeClr val="tx1"/>
                          </a:solidFill>
                          <a:latin typeface="Helvetica 75" panose="020B0804020202020204" pitchFamily="34" charset="0"/>
                        </a:rPr>
                        <a:t>10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Helvetica 75"/>
                        </a:defRPr>
                      </a:lvl9pPr>
                    </a:lstStyle>
                    <a:p>
                      <a:pPr algn="ctr" fontAlgn="b"/>
                      <a:endParaRPr lang="en-US" sz="1200" dirty="0">
                        <a:solidFill>
                          <a:schemeClr val="tx1"/>
                        </a:solidFill>
                        <a:latin typeface="Helvetica 75" panose="020B08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924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1F1F49-8467-4010-B29A-101667FAAFB5}" type="slidenum">
              <a:rPr lang="fr-FR" altLang="fr-FR">
                <a:solidFill>
                  <a:prstClr val="white"/>
                </a:solidFill>
                <a:ea typeface="ＭＳ Ｐゴシック" pitchFamily="34" charset="-128"/>
              </a:rPr>
              <a:pPr>
                <a:defRPr/>
              </a:pPr>
              <a:t>‹#›</a:t>
            </a:fld>
            <a:endParaRPr lang="fr-FR" altLang="fr-FR">
              <a:solidFill>
                <a:prstClr val="white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600806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353602" y="404664"/>
            <a:ext cx="9409873" cy="982800"/>
          </a:xfrm>
        </p:spPr>
        <p:txBody>
          <a:bodyPr/>
          <a:lstStyle>
            <a:lvl1pPr algn="l">
              <a:defRPr/>
            </a:lvl1pPr>
          </a:lstStyle>
          <a:p>
            <a:r>
              <a:rPr lang="fr-FR" dirty="0" smtClean="0"/>
              <a:t>titre seul</a:t>
            </a:r>
            <a:endParaRPr lang="fr-FR" dirty="0"/>
          </a:p>
        </p:txBody>
      </p:sp>
      <p:sp>
        <p:nvSpPr>
          <p:cNvPr id="3" name="Rectangle 762"/>
          <p:cNvSpPr>
            <a:spLocks noChangeArrowheads="1"/>
          </p:cNvSpPr>
          <p:nvPr userDrawn="1"/>
        </p:nvSpPr>
        <p:spPr bwMode="auto">
          <a:xfrm>
            <a:off x="1340677" y="6408739"/>
            <a:ext cx="3727451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/>
          <a:p>
            <a:r>
              <a:rPr lang="en-GB" sz="1333" dirty="0">
                <a:solidFill>
                  <a:prstClr val="black">
                    <a:lumMod val="50000"/>
                  </a:prstClr>
                </a:solidFill>
              </a:rPr>
              <a:t>interne Orange</a:t>
            </a:r>
          </a:p>
        </p:txBody>
      </p:sp>
      <p:sp>
        <p:nvSpPr>
          <p:cNvPr id="4" name="Rectangle 762"/>
          <p:cNvSpPr>
            <a:spLocks noChangeArrowheads="1"/>
          </p:cNvSpPr>
          <p:nvPr userDrawn="1"/>
        </p:nvSpPr>
        <p:spPr bwMode="auto">
          <a:xfrm>
            <a:off x="527381" y="6408739"/>
            <a:ext cx="672075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/>
          <a:p>
            <a:fld id="{EFE14BF7-218F-4596-8202-541E14B3C423}" type="slidenum">
              <a:rPr lang="en-US" sz="1333">
                <a:solidFill>
                  <a:prstClr val="black">
                    <a:lumMod val="50000"/>
                  </a:prstClr>
                </a:solidFill>
                <a:ea typeface="ＭＳ Ｐゴシック" pitchFamily="34" charset="-128"/>
              </a:rPr>
              <a:pPr/>
              <a:t>‹#›</a:t>
            </a:fld>
            <a:endParaRPr lang="en-GB" sz="1333" dirty="0">
              <a:solidFill>
                <a:prstClr val="black">
                  <a:lumMod val="50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40281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354951" y="403200"/>
            <a:ext cx="9446400" cy="9828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dirty="0" smtClean="0"/>
              <a:t>pour ajouter une diapo différente &gt; Accueil &gt; Nouvelle diapositive (puis cliquez menu déroulant) 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1390653" y="1773238"/>
            <a:ext cx="9410700" cy="3887787"/>
          </a:xfrm>
        </p:spPr>
        <p:txBody>
          <a:bodyPr/>
          <a:lstStyle>
            <a:lvl1pPr>
              <a:defRPr sz="24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r>
              <a:rPr lang="fr-FR" dirty="0" smtClean="0"/>
              <a:t>écrivez le texte ici, si besoin sélectionnez une icône ci-dessous pour ajouter un tableau, un graphique, un </a:t>
            </a:r>
            <a:r>
              <a:rPr lang="fr-FR" dirty="0" err="1" smtClean="0"/>
              <a:t>SmartArt</a:t>
            </a:r>
            <a:r>
              <a:rPr lang="fr-FR" dirty="0" smtClean="0"/>
              <a:t>, une image ou une vidéo</a:t>
            </a:r>
            <a:endParaRPr lang="fr-FR" dirty="0"/>
          </a:p>
        </p:txBody>
      </p:sp>
      <p:sp>
        <p:nvSpPr>
          <p:cNvPr id="4" name="Rectangle 762"/>
          <p:cNvSpPr>
            <a:spLocks noChangeArrowheads="1"/>
          </p:cNvSpPr>
          <p:nvPr userDrawn="1"/>
        </p:nvSpPr>
        <p:spPr bwMode="auto">
          <a:xfrm>
            <a:off x="1340677" y="6408739"/>
            <a:ext cx="3727451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/>
          <a:p>
            <a:r>
              <a:rPr lang="en-GB" sz="1333" dirty="0">
                <a:solidFill>
                  <a:prstClr val="black">
                    <a:lumMod val="50000"/>
                  </a:prstClr>
                </a:solidFill>
              </a:rPr>
              <a:t>interne Orange</a:t>
            </a: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>
            <a:off x="527381" y="6408739"/>
            <a:ext cx="672075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/>
          <a:p>
            <a:fld id="{EFE14BF7-218F-4596-8202-541E14B3C423}" type="slidenum">
              <a:rPr lang="en-US" sz="1333">
                <a:solidFill>
                  <a:prstClr val="black">
                    <a:lumMod val="50000"/>
                  </a:prstClr>
                </a:solidFill>
                <a:ea typeface="ＭＳ Ｐゴシック" pitchFamily="34" charset="-128"/>
              </a:rPr>
              <a:pPr/>
              <a:t>‹#›</a:t>
            </a:fld>
            <a:endParaRPr lang="en-GB" sz="1333" dirty="0">
              <a:solidFill>
                <a:prstClr val="black">
                  <a:lumMod val="50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2041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9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1067"/>
              </a:spcAft>
              <a:defRPr sz="4000">
                <a:solidFill>
                  <a:srgbClr val="FF6600"/>
                </a:solidFill>
              </a:defRPr>
            </a:lvl1pPr>
            <a:lvl2pPr marL="535504" indent="-535504">
              <a:lnSpc>
                <a:spcPct val="85000"/>
              </a:lnSpc>
              <a:spcAft>
                <a:spcPts val="1067"/>
              </a:spcAft>
              <a:buFont typeface="+mj-lt"/>
              <a:buAutoNum type="arabicPeriod"/>
              <a:defRPr sz="4000"/>
            </a:lvl2pPr>
            <a:lvl3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3pPr>
            <a:lvl4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4pPr>
            <a:lvl5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1"/>
            <a:r>
              <a:rPr lang="en-US" dirty="0" smtClean="0"/>
              <a:t>Third level</a:t>
            </a:r>
          </a:p>
          <a:p>
            <a:pPr lvl="1"/>
            <a:r>
              <a:rPr lang="en-US" dirty="0" smtClean="0"/>
              <a:t>Fourth level</a:t>
            </a:r>
          </a:p>
          <a:p>
            <a:pPr lvl="1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 txBox="1">
            <a:spLocks/>
          </p:cNvSpPr>
          <p:nvPr userDrawn="1"/>
        </p:nvSpPr>
        <p:spPr>
          <a:xfrm>
            <a:off x="448733" y="5962653"/>
            <a:ext cx="366680" cy="446615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1067">
                <a:solidFill>
                  <a:srgbClr val="FFFFFF"/>
                </a:solidFill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FFFFFF"/>
              </a:solidFill>
            </a:endParaRPr>
          </a:p>
        </p:txBody>
      </p:sp>
      <p:sp>
        <p:nvSpPr>
          <p:cNvPr id="13" name="Text Placeholder 10"/>
          <p:cNvSpPr txBox="1">
            <a:spLocks/>
          </p:cNvSpPr>
          <p:nvPr userDrawn="1"/>
        </p:nvSpPr>
        <p:spPr>
          <a:xfrm>
            <a:off x="874975" y="5956300"/>
            <a:ext cx="10868293" cy="45296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474867993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829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191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04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36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77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171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088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150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869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78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515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34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59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509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24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661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344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71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438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03174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920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44449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418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0443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3500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76239" indent="-24764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943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263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976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145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784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245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869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3870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938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681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3480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57189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396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425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6680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478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37703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072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2886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3573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First </a:t>
            </a:r>
            <a:r>
              <a:rPr lang="en-US" dirty="0" err="1" smtClean="0"/>
              <a:t>Lastname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30884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510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726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161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002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76239" indent="-24764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651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57189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717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379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818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19200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03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62284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0"/>
            <a:ext cx="5082117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62284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0"/>
            <a:ext cx="5084232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934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632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574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1568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914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697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3763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75276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12914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796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648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44303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3468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4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1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835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010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473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19200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137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779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457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31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7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799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315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181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57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904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64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62284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0"/>
            <a:ext cx="5082117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62284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0"/>
            <a:ext cx="5084232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669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310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75832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674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10016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29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587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52112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175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502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21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slideLayout" Target="../slideLayouts/slideLayout99.xml"/><Relationship Id="rId47" Type="http://schemas.openxmlformats.org/officeDocument/2006/relationships/slideLayout" Target="../slideLayouts/slideLayout104.xml"/><Relationship Id="rId50" Type="http://schemas.openxmlformats.org/officeDocument/2006/relationships/slideLayout" Target="../slideLayouts/slideLayout107.xml"/><Relationship Id="rId55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Relationship Id="rId46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98.xml"/><Relationship Id="rId54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slideLayout" Target="../slideLayouts/slideLayout97.xml"/><Relationship Id="rId45" Type="http://schemas.openxmlformats.org/officeDocument/2006/relationships/slideLayout" Target="../slideLayouts/slideLayout102.xml"/><Relationship Id="rId53" Type="http://schemas.openxmlformats.org/officeDocument/2006/relationships/slideLayout" Target="../slideLayouts/slideLayout110.xml"/><Relationship Id="rId58" Type="http://schemas.openxmlformats.org/officeDocument/2006/relationships/theme" Target="../theme/theme2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49" Type="http://schemas.openxmlformats.org/officeDocument/2006/relationships/slideLayout" Target="../slideLayouts/slideLayout106.xml"/><Relationship Id="rId57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4" Type="http://schemas.openxmlformats.org/officeDocument/2006/relationships/slideLayout" Target="../slideLayouts/slideLayout101.xml"/><Relationship Id="rId52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slideLayout" Target="../slideLayouts/slideLayout100.xml"/><Relationship Id="rId48" Type="http://schemas.openxmlformats.org/officeDocument/2006/relationships/slideLayout" Target="../slideLayouts/slideLayout105.xml"/><Relationship Id="rId56" Type="http://schemas.openxmlformats.org/officeDocument/2006/relationships/slideLayout" Target="../slideLayouts/slideLayout113.xml"/><Relationship Id="rId8" Type="http://schemas.openxmlformats.org/officeDocument/2006/relationships/slideLayout" Target="../slideLayouts/slideLayout65.xml"/><Relationship Id="rId51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3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14963" y="6293087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mtClean="0">
                <a:solidFill>
                  <a:srgbClr val="57565A">
                    <a:tint val="75000"/>
                  </a:srgbClr>
                </a:solidFill>
              </a:rPr>
              <a:pPr algn="ctr"/>
              <a:t>‹#›</a:t>
            </a:fld>
            <a:endParaRPr lang="en-GB" dirty="0">
              <a:solidFill>
                <a:srgbClr val="57565A">
                  <a:tint val="75000"/>
                </a:srgbClr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718075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281861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7" name="Rectangle 9"/>
          <p:cNvSpPr/>
          <p:nvPr/>
        </p:nvSpPr>
        <p:spPr>
          <a:xfrm rot="2700000">
            <a:off x="426720" y="6412186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 rot="10800000">
            <a:off x="1154288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5" name="Rectangle 9"/>
          <p:cNvSpPr/>
          <p:nvPr/>
        </p:nvSpPr>
        <p:spPr>
          <a:xfrm rot="13500000">
            <a:off x="1252512" y="6412186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7" name="Action Button: Forward or Next 26">
            <a:hlinkClick r:id="" action="ppaction://hlinkshowjump?jump=nextslide" highlightClick="1"/>
          </p:cNvPr>
          <p:cNvSpPr/>
          <p:nvPr userDrawn="1"/>
        </p:nvSpPr>
        <p:spPr>
          <a:xfrm>
            <a:off x="1127078" y="6259096"/>
            <a:ext cx="402336" cy="402336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sz="2400">
              <a:solidFill>
                <a:prstClr val="white"/>
              </a:solidFill>
            </a:endParaRPr>
          </a:p>
        </p:txBody>
      </p:sp>
      <p:sp>
        <p:nvSpPr>
          <p:cNvPr id="28" name="Action Button: Back or Previous 27">
            <a:hlinkClick r:id="" action="ppaction://hlinkshowjump?jump=previousslide" highlightClick="1"/>
          </p:cNvPr>
          <p:cNvSpPr/>
          <p:nvPr userDrawn="1"/>
        </p:nvSpPr>
        <p:spPr>
          <a:xfrm>
            <a:off x="249959" y="6251322"/>
            <a:ext cx="402336" cy="402336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45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  <p:sldLayoutId id="2147483769" r:id="rId42"/>
    <p:sldLayoutId id="2147483770" r:id="rId43"/>
    <p:sldLayoutId id="2147483771" r:id="rId44"/>
    <p:sldLayoutId id="2147483772" r:id="rId45"/>
    <p:sldLayoutId id="2147483773" r:id="rId46"/>
    <p:sldLayoutId id="2147483774" r:id="rId47"/>
    <p:sldLayoutId id="2147483775" r:id="rId48"/>
    <p:sldLayoutId id="2147483776" r:id="rId49"/>
    <p:sldLayoutId id="2147483777" r:id="rId50"/>
    <p:sldLayoutId id="2147483778" r:id="rId51"/>
    <p:sldLayoutId id="2147483779" r:id="rId52"/>
    <p:sldLayoutId id="2147483780" r:id="rId53"/>
    <p:sldLayoutId id="2147483781" r:id="rId54"/>
    <p:sldLayoutId id="2147483782" r:id="rId55"/>
    <p:sldLayoutId id="2147483783" r:id="rId56"/>
    <p:sldLayoutId id="2147483784" r:id="rId57"/>
  </p:sldLayoutIdLst>
  <p:timing>
    <p:tnLst>
      <p:par>
        <p:cTn id="1" dur="indefinite" restart="never" nodeType="tmRoot"/>
      </p:par>
    </p:tnLst>
  </p:timing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14963" y="6293087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mtClean="0">
                <a:solidFill>
                  <a:srgbClr val="57565A">
                    <a:tint val="75000"/>
                  </a:srgbClr>
                </a:solidFill>
              </a:rPr>
              <a:pPr algn="ctr"/>
              <a:t>‹#›</a:t>
            </a:fld>
            <a:endParaRPr lang="en-GB" dirty="0">
              <a:solidFill>
                <a:srgbClr val="57565A">
                  <a:tint val="75000"/>
                </a:srgbClr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718075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281861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7" name="Rectangle 9"/>
          <p:cNvSpPr/>
          <p:nvPr/>
        </p:nvSpPr>
        <p:spPr>
          <a:xfrm rot="2700000">
            <a:off x="426720" y="6412186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 rot="10800000">
            <a:off x="1154288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5" name="Rectangle 9"/>
          <p:cNvSpPr/>
          <p:nvPr/>
        </p:nvSpPr>
        <p:spPr>
          <a:xfrm rot="13500000">
            <a:off x="1252512" y="6412186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7" name="Action Button: Forward or Next 26">
            <a:hlinkClick r:id="" action="ppaction://hlinkshowjump?jump=nextslide" highlightClick="1"/>
          </p:cNvPr>
          <p:cNvSpPr/>
          <p:nvPr userDrawn="1"/>
        </p:nvSpPr>
        <p:spPr>
          <a:xfrm>
            <a:off x="1127078" y="6259096"/>
            <a:ext cx="402336" cy="402336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sz="2400">
              <a:solidFill>
                <a:prstClr val="white"/>
              </a:solidFill>
            </a:endParaRPr>
          </a:p>
        </p:txBody>
      </p:sp>
      <p:sp>
        <p:nvSpPr>
          <p:cNvPr id="28" name="Action Button: Back or Previous 27">
            <a:hlinkClick r:id="" action="ppaction://hlinkshowjump?jump=previousslide" highlightClick="1"/>
          </p:cNvPr>
          <p:cNvSpPr/>
          <p:nvPr userDrawn="1"/>
        </p:nvSpPr>
        <p:spPr>
          <a:xfrm>
            <a:off x="249959" y="6251322"/>
            <a:ext cx="402336" cy="402336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498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04" r:id="rId19"/>
    <p:sldLayoutId id="2147483805" r:id="rId20"/>
    <p:sldLayoutId id="2147483806" r:id="rId21"/>
    <p:sldLayoutId id="2147483807" r:id="rId22"/>
    <p:sldLayoutId id="2147483808" r:id="rId23"/>
    <p:sldLayoutId id="2147483809" r:id="rId24"/>
    <p:sldLayoutId id="2147483810" r:id="rId25"/>
    <p:sldLayoutId id="2147483811" r:id="rId26"/>
    <p:sldLayoutId id="2147483812" r:id="rId27"/>
    <p:sldLayoutId id="2147483813" r:id="rId28"/>
    <p:sldLayoutId id="2147483814" r:id="rId29"/>
    <p:sldLayoutId id="2147483815" r:id="rId30"/>
    <p:sldLayoutId id="2147483816" r:id="rId31"/>
    <p:sldLayoutId id="2147483817" r:id="rId32"/>
    <p:sldLayoutId id="2147483818" r:id="rId33"/>
    <p:sldLayoutId id="2147483819" r:id="rId34"/>
    <p:sldLayoutId id="2147483820" r:id="rId35"/>
    <p:sldLayoutId id="2147483821" r:id="rId36"/>
    <p:sldLayoutId id="2147483822" r:id="rId37"/>
    <p:sldLayoutId id="2147483823" r:id="rId38"/>
    <p:sldLayoutId id="2147483824" r:id="rId39"/>
    <p:sldLayoutId id="2147483825" r:id="rId40"/>
    <p:sldLayoutId id="2147483826" r:id="rId41"/>
    <p:sldLayoutId id="2147483827" r:id="rId42"/>
    <p:sldLayoutId id="2147483828" r:id="rId43"/>
    <p:sldLayoutId id="2147483829" r:id="rId44"/>
    <p:sldLayoutId id="2147483830" r:id="rId45"/>
    <p:sldLayoutId id="2147483831" r:id="rId46"/>
    <p:sldLayoutId id="2147483832" r:id="rId47"/>
    <p:sldLayoutId id="2147483833" r:id="rId48"/>
    <p:sldLayoutId id="2147483834" r:id="rId49"/>
    <p:sldLayoutId id="2147483835" r:id="rId50"/>
    <p:sldLayoutId id="2147483836" r:id="rId51"/>
    <p:sldLayoutId id="2147483837" r:id="rId52"/>
    <p:sldLayoutId id="2147483838" r:id="rId53"/>
    <p:sldLayoutId id="2147483839" r:id="rId54"/>
    <p:sldLayoutId id="2147483840" r:id="rId55"/>
    <p:sldLayoutId id="2147483841" r:id="rId56"/>
    <p:sldLayoutId id="2147483842" r:id="rId57"/>
  </p:sldLayoutIdLst>
  <p:timing>
    <p:tnLst>
      <p:par>
        <p:cTn id="1" dur="indefinite" restart="never" nodeType="tmRoot"/>
      </p:par>
    </p:tnLst>
  </p:timing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2967" y="452966"/>
            <a:ext cx="11294533" cy="828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8734" y="1739180"/>
            <a:ext cx="11298767" cy="421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dirty="0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448733" y="5962651"/>
            <a:ext cx="366680" cy="446615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1067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874975" y="5956300"/>
            <a:ext cx="10868293" cy="45296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  <a:latin typeface="Helvetica 75 Bold" panose="020B0804020202020204" pitchFamily="34" charset="0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2082191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685783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667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609585"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1219170"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828754"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2438339" algn="l" defTabSz="685783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685783" rtl="0" eaLnBrk="1" fontAlgn="base" hangingPunct="1">
        <a:lnSpc>
          <a:spcPct val="90000"/>
        </a:lnSpc>
        <a:spcBef>
          <a:spcPct val="0"/>
        </a:spcBef>
        <a:spcAft>
          <a:spcPts val="1067"/>
        </a:spcAft>
        <a:buFont typeface="Arial" pitchFamily="34" charset="0"/>
        <a:defRPr sz="1867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685783" rtl="0" eaLnBrk="1" fontAlgn="base" hangingPunct="1">
        <a:lnSpc>
          <a:spcPct val="90000"/>
        </a:lnSpc>
        <a:spcBef>
          <a:spcPct val="0"/>
        </a:spcBef>
        <a:spcAft>
          <a:spcPts val="1067"/>
        </a:spcAft>
        <a:buFont typeface="Arial" pitchFamily="34" charset="0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77796" indent="-177796" algn="l" defTabSz="685783" rtl="0" eaLnBrk="1" fontAlgn="base" hangingPunct="1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anose="020B0804020202020204" pitchFamily="34" charset="0"/>
        <a:buChar char="−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361942" indent="-179913" algn="l" defTabSz="685783" rtl="0" eaLnBrk="1" fontAlgn="base" hangingPunct="1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anose="020B0804020202020204" pitchFamily="34" charset="0"/>
        <a:buChar char="−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541853" indent="-179913" algn="l" defTabSz="685783" rtl="0" eaLnBrk="1" fontAlgn="base" hangingPunct="1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anose="020B0804020202020204" pitchFamily="34" charset="0"/>
        <a:buChar char="−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2967" y="452966"/>
            <a:ext cx="11294533" cy="828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8734" y="1739180"/>
            <a:ext cx="11298767" cy="421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448733" y="5962651"/>
            <a:ext cx="366680" cy="446615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1067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600"/>
                </a:spcAft>
                <a:buClr>
                  <a:srgbClr val="FFFFFF"/>
                </a:buClr>
                <a:defRPr/>
              </a:pPr>
              <a:t>‹#›</a:t>
            </a:fld>
            <a:endParaRPr lang="en-GB" sz="1067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874975" y="5956300"/>
            <a:ext cx="10868293" cy="452968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600"/>
              </a:spcAft>
              <a:buClr>
                <a:srgbClr val="FFFFFF"/>
              </a:buClr>
              <a:defRPr/>
            </a:pPr>
            <a:r>
              <a:rPr lang="en-GB" sz="1067">
                <a:solidFill>
                  <a:srgbClr val="FF6600"/>
                </a:solidFill>
                <a:latin typeface="Helvetica 75 Bold" panose="020B0804020202020204" pitchFamily="34" charset="0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47623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685783" rtl="0" fontAlgn="base">
        <a:lnSpc>
          <a:spcPct val="90000"/>
        </a:lnSpc>
        <a:spcBef>
          <a:spcPct val="0"/>
        </a:spcBef>
        <a:spcAft>
          <a:spcPts val="0"/>
        </a:spcAft>
        <a:defRPr sz="2667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609585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1219170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828754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2438339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685783" rtl="0" fontAlgn="base">
        <a:lnSpc>
          <a:spcPct val="90000"/>
        </a:lnSpc>
        <a:spcBef>
          <a:spcPct val="0"/>
        </a:spcBef>
        <a:spcAft>
          <a:spcPts val="1067"/>
        </a:spcAft>
        <a:buFont typeface="Arial" pitchFamily="34" charset="0"/>
        <a:defRPr sz="1867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685783" rtl="0" fontAlgn="base">
        <a:lnSpc>
          <a:spcPct val="90000"/>
        </a:lnSpc>
        <a:spcBef>
          <a:spcPct val="0"/>
        </a:spcBef>
        <a:spcAft>
          <a:spcPts val="1067"/>
        </a:spcAft>
        <a:buFont typeface="Arial" pitchFamily="34" charset="0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77796" indent="-177796" algn="l" defTabSz="685783" rtl="0" fontAlgn="base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anose="020B0804020202020204" pitchFamily="34" charset="0"/>
        <a:buChar char="−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361942" indent="-179913" algn="l" defTabSz="685783" rtl="0" fontAlgn="base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anose="020B0804020202020204" pitchFamily="34" charset="0"/>
        <a:buChar char="−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541853" indent="-179913" algn="l" defTabSz="685783" rtl="0" fontAlgn="base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anose="020B0804020202020204" pitchFamily="34" charset="0"/>
        <a:buChar char="−"/>
        <a:defRPr sz="1867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452967" y="452968"/>
            <a:ext cx="11294533" cy="827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8734" y="1739900"/>
            <a:ext cx="11298767" cy="421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9118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defRPr sz="2667" kern="1200">
          <a:solidFill>
            <a:srgbClr val="FF6600"/>
          </a:solidFill>
          <a:latin typeface="+mj-lt"/>
          <a:ea typeface="ＭＳ Ｐゴシック" pitchFamily="34" charset="-128"/>
          <a:cs typeface="+mj-cs"/>
        </a:defRPr>
      </a:lvl1pPr>
      <a:lvl2pPr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defRPr sz="2667">
          <a:solidFill>
            <a:srgbClr val="FF6600"/>
          </a:solidFill>
          <a:latin typeface="Helvetica 75" pitchFamily="34" charset="0"/>
          <a:ea typeface="ＭＳ Ｐゴシック" pitchFamily="34" charset="-128"/>
        </a:defRPr>
      </a:lvl2pPr>
      <a:lvl3pPr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defRPr sz="2667">
          <a:solidFill>
            <a:srgbClr val="FF6600"/>
          </a:solidFill>
          <a:latin typeface="Helvetica 75" pitchFamily="34" charset="0"/>
          <a:ea typeface="ＭＳ Ｐゴシック" pitchFamily="34" charset="-128"/>
        </a:defRPr>
      </a:lvl3pPr>
      <a:lvl4pPr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defRPr sz="2667">
          <a:solidFill>
            <a:srgbClr val="FF6600"/>
          </a:solidFill>
          <a:latin typeface="Helvetica 75" pitchFamily="34" charset="0"/>
          <a:ea typeface="ＭＳ Ｐゴシック" pitchFamily="34" charset="-128"/>
        </a:defRPr>
      </a:lvl4pPr>
      <a:lvl5pPr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defRPr sz="2667">
          <a:solidFill>
            <a:srgbClr val="FF6600"/>
          </a:solidFill>
          <a:latin typeface="Helvetica 75" pitchFamily="34" charset="0"/>
          <a:ea typeface="ＭＳ Ｐゴシック" pitchFamily="34" charset="-128"/>
        </a:defRPr>
      </a:lvl5pPr>
      <a:lvl6pPr marL="609585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1219170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828754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2438339" algn="l" defTabSz="685783" rtl="0" fontAlgn="base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buFont typeface="Arial" pitchFamily="34" charset="0"/>
        <a:defRPr sz="1867" kern="1200">
          <a:solidFill>
            <a:srgbClr val="FF6600"/>
          </a:solidFill>
          <a:latin typeface="+mj-lt"/>
          <a:ea typeface="ＭＳ Ｐゴシック" pitchFamily="34" charset="-128"/>
          <a:cs typeface="+mn-cs"/>
        </a:defRPr>
      </a:lvl1pPr>
      <a:lvl2pPr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buFont typeface="Arial" pitchFamily="34" charset="0"/>
        <a:defRPr sz="1867" kern="1200">
          <a:solidFill>
            <a:schemeClr val="tx1"/>
          </a:solidFill>
          <a:latin typeface="+mj-lt"/>
          <a:ea typeface="ＭＳ Ｐゴシック" pitchFamily="34" charset="-128"/>
          <a:cs typeface="+mn-cs"/>
        </a:defRPr>
      </a:lvl2pPr>
      <a:lvl3pPr marL="177796" indent="-177796"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itchFamily="34" charset="0"/>
        <a:buChar char="−"/>
        <a:defRPr sz="1867" kern="1200">
          <a:solidFill>
            <a:schemeClr val="tx1"/>
          </a:solidFill>
          <a:latin typeface="+mj-lt"/>
          <a:ea typeface="ＭＳ Ｐゴシック" pitchFamily="34" charset="-128"/>
          <a:cs typeface="+mn-cs"/>
        </a:defRPr>
      </a:lvl3pPr>
      <a:lvl4pPr marL="361942" indent="-179913"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itchFamily="34" charset="0"/>
        <a:buChar char="−"/>
        <a:defRPr sz="1867" kern="1200">
          <a:solidFill>
            <a:schemeClr val="tx1"/>
          </a:solidFill>
          <a:latin typeface="+mj-lt"/>
          <a:ea typeface="ＭＳ Ｐゴシック" pitchFamily="34" charset="-128"/>
          <a:cs typeface="+mn-cs"/>
        </a:defRPr>
      </a:lvl4pPr>
      <a:lvl5pPr marL="541853" indent="-179913" algn="l" defTabSz="685783" rtl="0" eaLnBrk="0" fontAlgn="base" hangingPunct="0">
        <a:lnSpc>
          <a:spcPct val="85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itchFamily="34" charset="0"/>
        <a:buChar char="−"/>
        <a:defRPr sz="1867" kern="1200">
          <a:solidFill>
            <a:schemeClr val="tx1"/>
          </a:solidFill>
          <a:latin typeface="+mj-lt"/>
          <a:ea typeface="ＭＳ Ｐゴシック" pitchFamily="34" charset="-128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16985" y="1670052"/>
            <a:ext cx="11362265" cy="3945465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GB" noProof="0" dirty="0" smtClean="0"/>
              <a:t>Click to edit text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  <a:endParaRPr lang="en-GB" noProof="0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416985" y="414867"/>
            <a:ext cx="11362265" cy="836085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en-GB" noProof="0" dirty="0" smtClean="0"/>
              <a:t>Click to edit title</a:t>
            </a:r>
            <a:endParaRPr lang="en-GB" noProof="0" dirty="0"/>
          </a:p>
        </p:txBody>
      </p:sp>
      <p:sp>
        <p:nvSpPr>
          <p:cNvPr id="17" name="Text Placeholder 10"/>
          <p:cNvSpPr txBox="1">
            <a:spLocks/>
          </p:cNvSpPr>
          <p:nvPr/>
        </p:nvSpPr>
        <p:spPr>
          <a:xfrm>
            <a:off x="416985" y="6032501"/>
            <a:ext cx="455936" cy="41275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white"/>
              </a:buClr>
            </a:pPr>
            <a:fld id="{8702007A-2642-4DC4-A457-FD791426C840}" type="slidenum">
              <a:rPr lang="en-GB" sz="1067">
                <a:solidFill>
                  <a:prstClr val="white"/>
                </a:solidFill>
              </a:rPr>
              <a:pPr>
                <a:buClr>
                  <a:prstClr val="white"/>
                </a:buClr>
              </a:pPr>
              <a:t>‹#›</a:t>
            </a:fld>
            <a:endParaRPr lang="en-GB" sz="1067">
              <a:solidFill>
                <a:prstClr val="white"/>
              </a:solidFill>
            </a:endParaRPr>
          </a:p>
        </p:txBody>
      </p:sp>
      <p:sp>
        <p:nvSpPr>
          <p:cNvPr id="19" name="Text Placeholder 10"/>
          <p:cNvSpPr txBox="1">
            <a:spLocks/>
          </p:cNvSpPr>
          <p:nvPr/>
        </p:nvSpPr>
        <p:spPr>
          <a:xfrm>
            <a:off x="875763" y="6032501"/>
            <a:ext cx="10903487" cy="41275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prstClr val="white"/>
              </a:buClr>
            </a:pPr>
            <a:r>
              <a:rPr lang="en-GB" sz="1067">
                <a:solidFill>
                  <a:srgbClr val="FF66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7245241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0" r:id="rId24"/>
    <p:sldLayoutId id="2147483901" r:id="rId25"/>
    <p:sldLayoutId id="2147483902" r:id="rId26"/>
    <p:sldLayoutId id="2147483903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1219170" rtl="0" eaLnBrk="1" latinLnBrk="0" hangingPunct="1">
        <a:spcBef>
          <a:spcPct val="0"/>
        </a:spcBef>
        <a:spcAft>
          <a:spcPts val="400"/>
        </a:spcAft>
        <a:buNone/>
        <a:defRPr lang="fr-FR" sz="2133" kern="1200">
          <a:solidFill>
            <a:srgbClr val="FF6600"/>
          </a:solidFill>
          <a:latin typeface="Helvetica 75" panose="020B0804020202020204" pitchFamily="34" charset="0"/>
          <a:ea typeface="+mj-ea"/>
          <a:cs typeface="+mj-cs"/>
        </a:defRPr>
      </a:lvl1pPr>
    </p:titleStyle>
    <p:bodyStyle>
      <a:lvl1pPr marL="226478" indent="-226478" algn="l" defTabSz="1219170" rtl="0" eaLnBrk="1" fontAlgn="base" latinLnBrk="0" hangingPunct="1">
        <a:spcBef>
          <a:spcPct val="0"/>
        </a:spcBef>
        <a:spcAft>
          <a:spcPts val="400"/>
        </a:spcAft>
        <a:buClr>
          <a:srgbClr val="FF6600"/>
        </a:buClr>
        <a:buSzPct val="110000"/>
        <a:buFont typeface="Wingdings" panose="05000000000000000000" pitchFamily="2" charset="2"/>
        <a:buChar char="§"/>
        <a:defRPr lang="fr-FR" sz="1600" kern="1200" baseline="0" dirty="0" smtClean="0">
          <a:solidFill>
            <a:srgbClr val="FF6600"/>
          </a:solidFill>
          <a:latin typeface="Helvetica 75" panose="020B0804020202020204" pitchFamily="34" charset="0"/>
          <a:ea typeface="+mn-ea"/>
          <a:cs typeface="+mn-cs"/>
        </a:defRPr>
      </a:lvl1pPr>
      <a:lvl2pPr marL="613818" indent="-311143" algn="l" defTabSz="1219170" rtl="0" eaLnBrk="1" fontAlgn="base" latinLnBrk="0" hangingPunct="1">
        <a:spcBef>
          <a:spcPct val="0"/>
        </a:spcBef>
        <a:spcAft>
          <a:spcPts val="400"/>
        </a:spcAft>
        <a:buClr>
          <a:srgbClr val="FF6600"/>
        </a:buClr>
        <a:buFont typeface="Helvetica 75" panose="020B0804020202020204" pitchFamily="34" charset="0"/>
        <a:buChar char="−"/>
        <a:defRPr lang="fr-FR" sz="1600" kern="1200" baseline="0" dirty="0" smtClean="0">
          <a:solidFill>
            <a:schemeClr val="tx1"/>
          </a:solidFill>
          <a:latin typeface="Helvetica 75" panose="020B0804020202020204" pitchFamily="34" charset="0"/>
          <a:ea typeface="+mn-ea"/>
          <a:cs typeface="+mn-cs"/>
        </a:defRPr>
      </a:lvl2pPr>
      <a:lvl3pPr marL="836063" indent="-300559" algn="l" defTabSz="1219170" rtl="0" eaLnBrk="1" fontAlgn="base" latinLnBrk="0" hangingPunct="1">
        <a:spcBef>
          <a:spcPct val="0"/>
        </a:spcBef>
        <a:spcAft>
          <a:spcPts val="400"/>
        </a:spcAft>
        <a:buClr>
          <a:srgbClr val="FF6600"/>
        </a:buClr>
        <a:buFont typeface="Helvetica 75" panose="020B0804020202020204" pitchFamily="34" charset="0"/>
        <a:buChar char="−"/>
        <a:defRPr lang="fr-FR" sz="1600" kern="1200" baseline="0" dirty="0" smtClean="0">
          <a:solidFill>
            <a:schemeClr val="tx1"/>
          </a:solidFill>
          <a:latin typeface="Helvetica 75" panose="020B0804020202020204" pitchFamily="34" charset="0"/>
          <a:ea typeface="+mn-ea"/>
          <a:cs typeface="+mn-cs"/>
        </a:defRPr>
      </a:lvl3pPr>
      <a:lvl4pPr marL="1142971" indent="-304792" algn="l" defTabSz="1219170" rtl="0" eaLnBrk="1" fontAlgn="base" latinLnBrk="0" hangingPunct="1">
        <a:spcBef>
          <a:spcPct val="0"/>
        </a:spcBef>
        <a:spcAft>
          <a:spcPts val="400"/>
        </a:spcAft>
        <a:buClr>
          <a:srgbClr val="FF6600"/>
        </a:buClr>
        <a:buFont typeface="Helvetica 75" panose="020B0804020202020204" pitchFamily="34" charset="0"/>
        <a:buChar char="−"/>
        <a:defRPr lang="fr-FR" sz="1600" kern="1200" dirty="0" smtClean="0">
          <a:solidFill>
            <a:schemeClr val="tx1"/>
          </a:solidFill>
          <a:latin typeface="Helvetica 75" panose="020B0804020202020204" pitchFamily="34" charset="0"/>
          <a:ea typeface="+mn-ea"/>
          <a:cs typeface="+mn-cs"/>
        </a:defRPr>
      </a:lvl4pPr>
      <a:lvl5pPr marL="1449881" indent="-309026" algn="l" defTabSz="1219170" rtl="0" eaLnBrk="1" fontAlgn="base" latinLnBrk="0" hangingPunct="1">
        <a:spcBef>
          <a:spcPct val="0"/>
        </a:spcBef>
        <a:spcAft>
          <a:spcPts val="800"/>
        </a:spcAft>
        <a:buClr>
          <a:srgbClr val="FF6600"/>
        </a:buClr>
        <a:buFont typeface="Helvetica 75" panose="020B0804020202020204" pitchFamily="34" charset="0"/>
        <a:buChar char="−"/>
        <a:defRPr lang="fr-FR" sz="2133" kern="1200" dirty="0">
          <a:solidFill>
            <a:schemeClr val="tx1"/>
          </a:solidFill>
          <a:latin typeface="Helvetica 75" panose="020B080402020202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8.xml"/><Relationship Id="rId5" Type="http://schemas.openxmlformats.org/officeDocument/2006/relationships/chart" Target="../charts/chart8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8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3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0001"/>
            <a:ext cx="12192000" cy="8128001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448733" y="2951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sz="4000" dirty="0" smtClean="0">
                <a:solidFill>
                  <a:srgbClr val="F66400"/>
                </a:solidFill>
                <a:latin typeface="Helvetica 75 Bold" panose="020B0804020202020204" pitchFamily="34" charset="0"/>
              </a:rPr>
              <a:t>Aj z malých vecí </a:t>
            </a:r>
            <a:r>
              <a:rPr lang="sk-SK" sz="4000" dirty="0" smtClean="0">
                <a:solidFill>
                  <a:schemeClr val="bg1"/>
                </a:solidFill>
                <a:latin typeface="Helvetica 75 Bold" panose="020B0804020202020204" pitchFamily="34" charset="0"/>
              </a:rPr>
              <a:t>môžu vyrásť veľké skutky</a:t>
            </a:r>
          </a:p>
          <a:p>
            <a:endParaRPr lang="sk-SK" sz="2800" dirty="0" smtClean="0">
              <a:latin typeface="Helvetica 75 Bold" panose="020B0804020202020204" pitchFamily="34" charset="0"/>
            </a:endParaRPr>
          </a:p>
          <a:p>
            <a:r>
              <a:rPr lang="sk-SK" sz="2800" dirty="0" smtClean="0">
                <a:solidFill>
                  <a:schemeClr val="bg1"/>
                </a:solidFill>
                <a:latin typeface="Helvetica 75 Bold" panose="020B0804020202020204" pitchFamily="34" charset="0"/>
              </a:rPr>
              <a:t>V Zamestnaneckom grantovom programe od Orangeu</a:t>
            </a:r>
            <a:endParaRPr lang="en-GB" sz="2800" dirty="0">
              <a:solidFill>
                <a:schemeClr val="bg1"/>
              </a:solidFill>
              <a:latin typeface="Helvetica 75 Bold" panose="020B0804020202020204" pitchFamily="34" charset="0"/>
            </a:endParaRPr>
          </a:p>
          <a:p>
            <a:endParaRPr lang="en-GB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6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27574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04801" y="1074057"/>
            <a:ext cx="5036457" cy="4659086"/>
          </a:xfrm>
          <a:prstGeom prst="rect">
            <a:avLst/>
          </a:prstGeom>
          <a:solidFill>
            <a:srgbClr val="FF66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584889" y="1093417"/>
            <a:ext cx="5499878" cy="4560934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solidFill>
                  <a:srgbClr val="FF6600"/>
                </a:solidFill>
              </a:rPr>
              <a:t>58 </a:t>
            </a:r>
            <a:r>
              <a:rPr lang="sk-SK" sz="1800" dirty="0" smtClean="0">
                <a:latin typeface="Helvetica 75 Bold" panose="02000803050000020004" pitchFamily="2" charset="0"/>
              </a:rPr>
              <a:t>prijatých žiadostí 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>
                <a:solidFill>
                  <a:srgbClr val="FF6600"/>
                </a:solidFill>
                <a:latin typeface="Helvetica 75 Bold" panose="02000803050000020004" pitchFamily="2" charset="0"/>
              </a:rPr>
              <a:t>22.000 eur </a:t>
            </a:r>
            <a:r>
              <a:rPr lang="sk-SK" sz="1800" dirty="0" smtClean="0">
                <a:latin typeface="Helvetica 75 Bold" panose="02000803050000020004" pitchFamily="2" charset="0"/>
              </a:rPr>
              <a:t>na podporu všetkých projektov </a:t>
            </a:r>
            <a:endParaRPr lang="sk-SK" sz="1800" dirty="0" smtClean="0">
              <a:solidFill>
                <a:srgbClr val="FF6600"/>
              </a:solidFill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maximálna výška podpory na jeden projekt </a:t>
            </a:r>
            <a:r>
              <a:rPr lang="sk-SK" sz="1800" dirty="0" smtClean="0">
                <a:solidFill>
                  <a:srgbClr val="FF6600"/>
                </a:solidFill>
                <a:latin typeface="Helvetica 75 Bold" panose="02000803050000020004" pitchFamily="2" charset="0"/>
              </a:rPr>
              <a:t>1.000 eur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>
                <a:solidFill>
                  <a:srgbClr val="FF6600"/>
                </a:solidFill>
                <a:latin typeface="Helvetica 75 Bold" panose="02000803050000020004" pitchFamily="2" charset="0"/>
              </a:rPr>
              <a:t>37</a:t>
            </a:r>
            <a:r>
              <a:rPr lang="sk-SK" sz="1800" dirty="0">
                <a:latin typeface="Helvetica 75 Bold" panose="02000803050000020004" pitchFamily="2" charset="0"/>
              </a:rPr>
              <a:t> podporených </a:t>
            </a:r>
            <a:r>
              <a:rPr lang="sk-SK" sz="1800" dirty="0" smtClean="0">
                <a:latin typeface="Helvetica 75 Bold" panose="02000803050000020004" pitchFamily="2" charset="0"/>
              </a:rPr>
              <a:t>projektov, ktoré budú realizované po celom Slovensku</a:t>
            </a:r>
            <a:endParaRPr lang="sk-SK" sz="1800" dirty="0" smtClean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8733" y="2951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sz="4000" dirty="0" smtClean="0">
                <a:latin typeface="Helvetica 75 Bold" panose="020B0804020202020204" pitchFamily="34" charset="0"/>
              </a:rPr>
              <a:t>Tento ročník v číslach</a:t>
            </a:r>
          </a:p>
          <a:p>
            <a:endParaRPr lang="sk-SK" sz="2800" dirty="0" smtClean="0">
              <a:latin typeface="Helvetica 75 Bold" panose="020B0804020202020204" pitchFamily="34" charset="0"/>
            </a:endParaRPr>
          </a:p>
          <a:p>
            <a:endParaRPr lang="en-GB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26088">
            <a:off x="297543" y="1723021"/>
            <a:ext cx="5050972" cy="3361158"/>
          </a:xfrm>
          <a:prstGeom prst="rect">
            <a:avLst/>
          </a:prstGeom>
        </p:spPr>
      </p:pic>
      <p:pic>
        <p:nvPicPr>
          <p:cNvPr id="12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0604681"/>
              </p:ext>
            </p:extLst>
          </p:nvPr>
        </p:nvGraphicFramePr>
        <p:xfrm>
          <a:off x="6038715" y="400298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486131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48733" y="2951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sz="4000" dirty="0" smtClean="0">
                <a:latin typeface="Helvetica 75 Bold" panose="020B0804020202020204" pitchFamily="34" charset="0"/>
              </a:rPr>
              <a:t>Ešte raz v kocke </a:t>
            </a:r>
            <a:r>
              <a:rPr lang="sk-SK" sz="4000" dirty="0" smtClean="0">
                <a:latin typeface="Helvetica 75 Bold" panose="020B0804020202020204" pitchFamily="34" charset="0"/>
                <a:sym typeface="Wingdings" panose="05000000000000000000" pitchFamily="2" charset="2"/>
              </a:rPr>
              <a:t></a:t>
            </a:r>
            <a:endParaRPr lang="sk-SK" sz="4000" dirty="0" smtClean="0">
              <a:latin typeface="Helvetica 75 Bold" panose="020B0804020202020204" pitchFamily="34" charset="0"/>
            </a:endParaRPr>
          </a:p>
          <a:p>
            <a:endParaRPr lang="sk-SK" sz="2800" dirty="0" smtClean="0">
              <a:latin typeface="Helvetica 75 Bold" panose="020B0804020202020204" pitchFamily="34" charset="0"/>
            </a:endParaRPr>
          </a:p>
          <a:p>
            <a:endParaRPr lang="en-GB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12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Content Placeholder 3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181" y="1092311"/>
            <a:ext cx="7231224" cy="5065657"/>
          </a:xfrm>
        </p:spPr>
      </p:pic>
    </p:spTree>
    <p:extLst>
      <p:ext uri="{BB962C8B-B14F-4D97-AF65-F5344CB8AC3E}">
        <p14:creationId xmlns:p14="http://schemas.microsoft.com/office/powerpoint/2010/main" val="29191724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E6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71109">
            <a:off x="489638" y="-66270"/>
            <a:ext cx="5009003" cy="33393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45314">
            <a:off x="6400667" y="3417508"/>
            <a:ext cx="5383504" cy="32879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03814">
            <a:off x="6485855" y="-14804"/>
            <a:ext cx="5104127" cy="33965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12077">
            <a:off x="127505" y="3585092"/>
            <a:ext cx="5396299" cy="326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857074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18662"/>
            <a:ext cx="12192000" cy="6858000"/>
          </a:xfrm>
          <a:prstGeom prst="rect">
            <a:avLst/>
          </a:prstGeom>
          <a:solidFill>
            <a:srgbClr val="00E6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15831">
            <a:off x="246620" y="274257"/>
            <a:ext cx="3115380" cy="207139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14283">
            <a:off x="8181951" y="35388"/>
            <a:ext cx="2916530" cy="23748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84030">
            <a:off x="366572" y="2031023"/>
            <a:ext cx="3357603" cy="223244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7953">
            <a:off x="3814485" y="2960693"/>
            <a:ext cx="4718379" cy="354462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33679">
            <a:off x="8390312" y="4198393"/>
            <a:ext cx="3654879" cy="24866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76832">
            <a:off x="9164201" y="1748422"/>
            <a:ext cx="2951978" cy="24132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0884">
            <a:off x="580408" y="4451174"/>
            <a:ext cx="2581103" cy="229195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27733">
            <a:off x="3794408" y="178735"/>
            <a:ext cx="4075498" cy="250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4060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375920" y="2694305"/>
            <a:ext cx="10937240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sk-SK" altLang="sk-SK" sz="4800" b="1" dirty="0" smtClean="0">
                <a:solidFill>
                  <a:srgbClr val="FF7800"/>
                </a:solidFill>
              </a:rPr>
              <a:t>Ďakujem za pozornosť</a:t>
            </a:r>
            <a:endParaRPr lang="en-GB" altLang="sk-SK" sz="4800" b="1" dirty="0"/>
          </a:p>
        </p:txBody>
      </p:sp>
      <p:pic>
        <p:nvPicPr>
          <p:cNvPr id="8" name="Obrázo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8987" y="522138"/>
            <a:ext cx="3237602" cy="5688162"/>
          </a:xfrm>
          <a:prstGeom prst="rect">
            <a:avLst/>
          </a:prstGeom>
        </p:spPr>
      </p:pic>
      <p:pic>
        <p:nvPicPr>
          <p:cNvPr id="4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31127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04801" y="1074057"/>
            <a:ext cx="5036457" cy="4659086"/>
          </a:xfrm>
          <a:prstGeom prst="rect">
            <a:avLst/>
          </a:prstGeom>
          <a:solidFill>
            <a:srgbClr val="FF66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80572" y="2022332"/>
            <a:ext cx="4760686" cy="27818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dirty="0" smtClean="0">
                <a:latin typeface="Helvetica 75 Bold" panose="020B0804020202020204" pitchFamily="34" charset="0"/>
              </a:rPr>
              <a:t>Zamestnanecký grantový program (ZGP)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584889" y="1093417"/>
            <a:ext cx="5990709" cy="4639726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15. ročník programu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zapojenie zamestnancov do CSR firmy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doteraz podporených viac ako 430 projektov - z</a:t>
            </a:r>
            <a:r>
              <a:rPr lang="sk-SK" sz="1800" dirty="0" smtClean="0"/>
              <a:t>amestnanci oživili verejný priestor a prispeli k zlepšeniu kvality života členov komunity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/>
              <a:t>v tomto ročníku sa mohli zapojiť  zamestnanci Orange Slovensko, Orange </a:t>
            </a:r>
            <a:r>
              <a:rPr lang="sk-SK" sz="1800" dirty="0" err="1" smtClean="0"/>
              <a:t>CorpSec</a:t>
            </a:r>
            <a:r>
              <a:rPr lang="sk-SK" sz="1800" dirty="0" smtClean="0"/>
              <a:t>, Orange Business </a:t>
            </a:r>
            <a:r>
              <a:rPr lang="sk-SK" sz="1800" dirty="0" err="1" smtClean="0"/>
              <a:t>Services</a:t>
            </a:r>
            <a:r>
              <a:rPr lang="sk-SK" sz="1800" dirty="0" smtClean="0"/>
              <a:t>, aj kolegovia na materskej resp. rodičovskej dovolenke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8733" y="2951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k-SK" sz="2800" dirty="0" smtClean="0">
              <a:latin typeface="Helvetica 75 Bold" panose="020B0804020202020204" pitchFamily="34" charset="0"/>
            </a:endParaRPr>
          </a:p>
        </p:txBody>
      </p:sp>
      <p:pic>
        <p:nvPicPr>
          <p:cNvPr id="11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1990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370299" y="927863"/>
            <a:ext cx="7292966" cy="5193019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solidFill>
                  <a:srgbClr val="F66400"/>
                </a:solidFill>
              </a:rPr>
              <a:t>podporiť aktívnych kolegov</a:t>
            </a:r>
            <a:r>
              <a:rPr lang="sk-SK" sz="1800" dirty="0" smtClean="0"/>
              <a:t>, ktorí majú záujem realizovať verejnoprospešné a komunitné aktivity vo svojom okolí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solidFill>
                  <a:srgbClr val="F66400"/>
                </a:solidFill>
              </a:rPr>
              <a:t>prispievať k zvyšovaniu kvality života </a:t>
            </a:r>
            <a:r>
              <a:rPr lang="sk-SK" sz="1800" dirty="0" smtClean="0"/>
              <a:t>rôznych cieľových skupín prostredníctvom </a:t>
            </a:r>
            <a:r>
              <a:rPr lang="sk-SK" sz="1800" dirty="0" smtClean="0">
                <a:solidFill>
                  <a:srgbClr val="F66400"/>
                </a:solidFill>
              </a:rPr>
              <a:t>angažovaných kolegov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/>
              <a:t>sprostredkovať zamestnancom </a:t>
            </a:r>
            <a:r>
              <a:rPr lang="sk-SK" sz="1800" dirty="0" smtClean="0">
                <a:solidFill>
                  <a:srgbClr val="F66400"/>
                </a:solidFill>
              </a:rPr>
              <a:t>zážitok z dobrého pocitu a hrdosť </a:t>
            </a:r>
            <a:r>
              <a:rPr lang="sk-SK" sz="1800" dirty="0" smtClean="0"/>
              <a:t>a ukazovať ich ako </a:t>
            </a:r>
            <a:r>
              <a:rPr lang="sk-SK" sz="1800" dirty="0" smtClean="0">
                <a:solidFill>
                  <a:srgbClr val="F66400"/>
                </a:solidFill>
              </a:rPr>
              <a:t>dobrý príklad iným kolegom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>
                <a:solidFill>
                  <a:srgbClr val="F66400"/>
                </a:solidFill>
              </a:rPr>
              <a:t>z</a:t>
            </a:r>
            <a:r>
              <a:rPr lang="sk-SK" sz="1800" dirty="0" smtClean="0">
                <a:solidFill>
                  <a:srgbClr val="F66400"/>
                </a:solidFill>
              </a:rPr>
              <a:t>výšiť povedomie zamestnancov o filantropii</a:t>
            </a:r>
            <a:r>
              <a:rPr lang="sk-SK" sz="1800" dirty="0" smtClean="0"/>
              <a:t>, </a:t>
            </a:r>
            <a:r>
              <a:rPr lang="sk-SK" sz="1800" dirty="0" smtClean="0">
                <a:solidFill>
                  <a:srgbClr val="F66400"/>
                </a:solidFill>
              </a:rPr>
              <a:t>hrdosť</a:t>
            </a:r>
            <a:r>
              <a:rPr lang="sk-SK" sz="1800" dirty="0" smtClean="0"/>
              <a:t> na značku a cielene posilňovať vnímanie Orangeu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/>
              <a:t>r</a:t>
            </a:r>
            <a:r>
              <a:rPr lang="sk-SK" sz="1800" dirty="0" smtClean="0"/>
              <a:t>evitalizácia verejných priestorov, podpora sociálnych tém </a:t>
            </a:r>
            <a:r>
              <a:rPr lang="sk-SK" sz="1800" dirty="0" err="1" smtClean="0"/>
              <a:t>atď</a:t>
            </a:r>
            <a:endParaRPr lang="sk-SK" sz="1800" dirty="0" smtClean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solidFill>
                  <a:srgbClr val="FF6600"/>
                </a:solidFill>
              </a:rPr>
              <a:t>zvýšiť počet zapojených kolegov </a:t>
            </a:r>
            <a:r>
              <a:rPr lang="sk-SK" sz="1800" dirty="0" smtClean="0"/>
              <a:t>do ZGP iným prístupom</a:t>
            </a:r>
            <a:endParaRPr lang="sk-SK" sz="1800" dirty="0" smtClean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48733" y="2951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sz="4000" dirty="0" smtClean="0">
                <a:latin typeface="Helvetica 75 Bold" panose="020B0804020202020204" pitchFamily="34" charset="0"/>
              </a:rPr>
              <a:t> Ciele programu</a:t>
            </a:r>
          </a:p>
          <a:p>
            <a:endParaRPr lang="en-GB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37" y="927863"/>
            <a:ext cx="3618763" cy="5930137"/>
          </a:xfrm>
          <a:prstGeom prst="rect">
            <a:avLst/>
          </a:prstGeom>
        </p:spPr>
      </p:pic>
      <p:pic>
        <p:nvPicPr>
          <p:cNvPr id="5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13535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1001486" y="2022332"/>
            <a:ext cx="4760686" cy="27818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k-SK" dirty="0" smtClean="0">
              <a:latin typeface="Helvetica 75 Bold" panose="020B0804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584890" y="1093417"/>
            <a:ext cx="6349202" cy="4639726"/>
          </a:xfrm>
        </p:spPr>
        <p:txBody>
          <a:bodyPr/>
          <a:lstStyle/>
          <a:p>
            <a:pPr lvl="2" indent="0">
              <a:lnSpc>
                <a:spcPct val="150000"/>
              </a:lnSpc>
              <a:buClr>
                <a:schemeClr val="accent1"/>
              </a:buClr>
              <a:buNone/>
            </a:pPr>
            <a:endParaRPr lang="sk-SK" sz="1800" dirty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8733" y="2951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k-SK" sz="2800" dirty="0" smtClean="0">
              <a:latin typeface="Helvetica 75 Bold" panose="020B0804020202020204" pitchFamily="34" charset="0"/>
            </a:endParaRPr>
          </a:p>
          <a:p>
            <a:endParaRPr lang="en-GB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99151" y="1869933"/>
            <a:ext cx="1876097" cy="14609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k-SK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1. marec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tvorenie grantu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omunikácia On </a:t>
            </a:r>
            <a:r>
              <a:rPr lang="sk-SK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vety kolegom na stoly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01133" y="4475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sz="4000" dirty="0" err="1" smtClean="0">
                <a:latin typeface="Helvetica 75 Bold" panose="020B0804020202020204" pitchFamily="34" charset="0"/>
              </a:rPr>
              <a:t>Timeline</a:t>
            </a:r>
            <a:r>
              <a:rPr lang="sk-SK" sz="4000" dirty="0" smtClean="0">
                <a:latin typeface="Helvetica 75 Bold" panose="020B0804020202020204" pitchFamily="34" charset="0"/>
              </a:rPr>
              <a:t> kampane</a:t>
            </a:r>
          </a:p>
          <a:p>
            <a:endParaRPr lang="sk-SK" sz="2800" dirty="0" smtClean="0">
              <a:latin typeface="Helvetica 75 Bold" panose="020B0804020202020204" pitchFamily="34" charset="0"/>
            </a:endParaRPr>
          </a:p>
          <a:p>
            <a:endParaRPr lang="en-GB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601133" y="3423138"/>
            <a:ext cx="10617852" cy="937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601133" y="3413280"/>
            <a:ext cx="196036" cy="1724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2719262" y="3426919"/>
            <a:ext cx="196036" cy="1724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4267412" y="3396169"/>
            <a:ext cx="196036" cy="1724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6402749" y="3413279"/>
            <a:ext cx="196036" cy="1724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8346042" y="3358495"/>
            <a:ext cx="196036" cy="1724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2817280" y="3723486"/>
            <a:ext cx="1789889" cy="10807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k-SK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6. apríl</a:t>
            </a:r>
          </a:p>
          <a:p>
            <a:r>
              <a:rPr lang="sk-SK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stre</a:t>
            </a:r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o zbere kvetov a uzávierke programu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365429" y="2009178"/>
            <a:ext cx="2037319" cy="1335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k-SK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8. apríl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závierka grantu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yzbieranie kvietkov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evoz a výsadba kvetov kolegami z úseku </a:t>
            </a:r>
            <a:r>
              <a:rPr lang="sk-SK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B</a:t>
            </a:r>
            <a:endParaRPr lang="sk-SK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465775" y="3681805"/>
            <a:ext cx="1880267" cy="11224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k-SK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. máj 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verejnenie podporených projektov</a:t>
            </a:r>
          </a:p>
        </p:txBody>
      </p:sp>
      <p:sp>
        <p:nvSpPr>
          <p:cNvPr id="25" name="Rectangle 24"/>
          <p:cNvSpPr/>
          <p:nvPr/>
        </p:nvSpPr>
        <p:spPr>
          <a:xfrm>
            <a:off x="8466574" y="2578559"/>
            <a:ext cx="2576734" cy="7282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k-SK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áj – október 2018</a:t>
            </a:r>
          </a:p>
          <a:p>
            <a:r>
              <a:rPr lang="sk-SK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alizácia projektov</a:t>
            </a:r>
          </a:p>
        </p:txBody>
      </p:sp>
      <p:sp>
        <p:nvSpPr>
          <p:cNvPr id="26" name="Right Arrow 25"/>
          <p:cNvSpPr/>
          <p:nvPr/>
        </p:nvSpPr>
        <p:spPr>
          <a:xfrm>
            <a:off x="11175173" y="3170963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70" y="3831859"/>
            <a:ext cx="1041920" cy="115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533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04801" y="1074057"/>
            <a:ext cx="5036457" cy="4659086"/>
          </a:xfrm>
          <a:prstGeom prst="rect">
            <a:avLst/>
          </a:prstGeom>
          <a:solidFill>
            <a:srgbClr val="FF66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80572" y="1905101"/>
            <a:ext cx="4760686" cy="27818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dirty="0" smtClean="0">
                <a:latin typeface="Helvetica 75 Bold" panose="020B0804020202020204" pitchFamily="34" charset="0"/>
              </a:rPr>
              <a:t>Aj z malých vecí môžu vyrásť veľké skutky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584890" y="1093417"/>
            <a:ext cx="6349202" cy="4639726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malý oranžový kvietok </a:t>
            </a:r>
            <a:r>
              <a:rPr lang="sk-SK" sz="1800" dirty="0" err="1" smtClean="0">
                <a:solidFill>
                  <a:srgbClr val="FF6600"/>
                </a:solidFill>
                <a:latin typeface="Helvetica 75 Bold" panose="02000803050000020004" pitchFamily="2" charset="0"/>
              </a:rPr>
              <a:t>kalanchoe</a:t>
            </a:r>
            <a:r>
              <a:rPr lang="sk-SK" sz="1800" dirty="0" smtClean="0">
                <a:latin typeface="Helvetica 75 Bold" panose="02000803050000020004" pitchFamily="2" charset="0"/>
              </a:rPr>
              <a:t> – symbol tohto ročníka – živá pripomienka na podanie žiadosti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všetci kolegovia sa oň starali mesiac - od </a:t>
            </a:r>
            <a:r>
              <a:rPr lang="sk-SK" sz="1800" dirty="0" smtClean="0">
                <a:solidFill>
                  <a:srgbClr val="F66400"/>
                </a:solidFill>
                <a:latin typeface="Helvetica 75 Bold" panose="02000803050000020004" pitchFamily="2" charset="0"/>
              </a:rPr>
              <a:t>21. marca do 18. apríla 2018</a:t>
            </a:r>
            <a:endParaRPr lang="sk-SK" sz="1800" dirty="0" smtClean="0">
              <a:solidFill>
                <a:srgbClr val="F66400"/>
              </a:solidFill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/>
              <a:t>prepojenie s programom internej </a:t>
            </a:r>
            <a:r>
              <a:rPr lang="sk-SK" sz="1800" dirty="0" smtClean="0">
                <a:solidFill>
                  <a:srgbClr val="F66400"/>
                </a:solidFill>
              </a:rPr>
              <a:t>Inovačnej výzvy programu </a:t>
            </a:r>
            <a:r>
              <a:rPr lang="sk-SK" sz="1800" dirty="0" err="1" smtClean="0">
                <a:solidFill>
                  <a:srgbClr val="F66400"/>
                </a:solidFill>
              </a:rPr>
              <a:t>Oz</a:t>
            </a:r>
            <a:r>
              <a:rPr lang="sk-SK" sz="1800" dirty="0" smtClean="0">
                <a:solidFill>
                  <a:srgbClr val="F66400"/>
                </a:solidFill>
              </a:rPr>
              <a:t> </a:t>
            </a:r>
            <a:r>
              <a:rPr lang="sk-SK" sz="1800" dirty="0" smtClean="0"/>
              <a:t>– kolegovia dávali nápady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/>
              <a:t>jedným bolo oživenie rozkopávky po </a:t>
            </a:r>
            <a:r>
              <a:rPr lang="sk-SK" sz="1800" dirty="0" smtClean="0"/>
              <a:t>kladení optickej siete kvietkami</a:t>
            </a:r>
            <a:endParaRPr lang="sk-SK" sz="1800" dirty="0" smtClean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/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8733" y="295132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11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1411" y="1074058"/>
            <a:ext cx="1041920" cy="115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9819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422634" y="382218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dirty="0" smtClean="0">
                <a:latin typeface="Helvetica 75 Bold" panose="020B0804020202020204" pitchFamily="34" charset="0"/>
              </a:rPr>
              <a:t>Komunikácia programu - 1</a:t>
            </a:r>
            <a:endParaRPr lang="en-GB" dirty="0" smtClean="0">
              <a:latin typeface="Helvetica 75 Bold" panose="020B0804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22635" y="1399592"/>
            <a:ext cx="4302004" cy="5299788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každý kolega dostal kvet na svoj stôl s kartičkou s inštrukciami – </a:t>
            </a:r>
            <a:r>
              <a:rPr lang="sk-SK" sz="1800" dirty="0" smtClean="0">
                <a:solidFill>
                  <a:srgbClr val="FF6600"/>
                </a:solidFill>
                <a:latin typeface="Helvetica 75 Bold" panose="02000803050000020004" pitchFamily="2" charset="0"/>
              </a:rPr>
              <a:t>ako sa oň starať a ako sa zapojiť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články na intranete – výzva + úspešné projekty kolegov z minulého ročníka</a:t>
            </a:r>
            <a:endParaRPr lang="en-GB" sz="1800" dirty="0">
              <a:solidFill>
                <a:schemeClr val="bg2"/>
              </a:solidFill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800" dirty="0" smtClean="0">
                <a:solidFill>
                  <a:schemeClr val="bg2"/>
                </a:solidFill>
                <a:latin typeface="Helvetica 75 Bold" panose="02000803050000020004" pitchFamily="2" charset="0"/>
              </a:rPr>
              <a:t>e-mail</a:t>
            </a:r>
            <a:r>
              <a:rPr lang="sk-SK" sz="1800" dirty="0" smtClean="0">
                <a:solidFill>
                  <a:schemeClr val="bg2"/>
                </a:solidFill>
                <a:latin typeface="Helvetica 75 Bold" panose="02000803050000020004" pitchFamily="2" charset="0"/>
              </a:rPr>
              <a:t> </a:t>
            </a:r>
            <a:r>
              <a:rPr lang="sk-SK" sz="1800" dirty="0" smtClean="0">
                <a:latin typeface="Helvetica 75 Bold" panose="02000803050000020004" pitchFamily="2" charset="0"/>
              </a:rPr>
              <a:t>na všetkých kolegov – s </a:t>
            </a:r>
            <a:r>
              <a:rPr lang="sk-SK" sz="1800" dirty="0" err="1" smtClean="0">
                <a:latin typeface="Helvetica 75 Bold" panose="02000803050000020004" pitchFamily="2" charset="0"/>
              </a:rPr>
              <a:t>linkom</a:t>
            </a:r>
            <a:r>
              <a:rPr lang="sk-SK" sz="1800" dirty="0" smtClean="0">
                <a:latin typeface="Helvetica 75 Bold" panose="02000803050000020004" pitchFamily="2" charset="0"/>
              </a:rPr>
              <a:t> na článok s výzvou</a:t>
            </a:r>
          </a:p>
          <a:p>
            <a:pPr lvl="2" indent="0">
              <a:lnSpc>
                <a:spcPct val="150000"/>
              </a:lnSpc>
              <a:buClr>
                <a:schemeClr val="accent1"/>
              </a:buClr>
              <a:buNone/>
            </a:pPr>
            <a:endParaRPr lang="sk-SK" sz="1800" dirty="0" smtClean="0">
              <a:solidFill>
                <a:schemeClr val="bg2"/>
              </a:solidFill>
              <a:latin typeface="Helvetica 75 Bold" panose="0200080305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12062" y="1007381"/>
            <a:ext cx="7279938" cy="5843051"/>
          </a:xfrm>
          <a:prstGeom prst="rect">
            <a:avLst/>
          </a:prstGeom>
          <a:solidFill>
            <a:srgbClr val="FF66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39025">
            <a:off x="5188781" y="1377502"/>
            <a:ext cx="3310406" cy="26213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0576">
            <a:off x="5212954" y="4007558"/>
            <a:ext cx="3346606" cy="266668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35898">
            <a:off x="8604198" y="1241275"/>
            <a:ext cx="3402147" cy="270329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76301">
            <a:off x="8778357" y="3940986"/>
            <a:ext cx="3402147" cy="267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005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422634" y="382218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dirty="0" smtClean="0">
                <a:latin typeface="Helvetica 75 Bold" panose="020B0804020202020204" pitchFamily="34" charset="0"/>
              </a:rPr>
              <a:t>Komunikácia programu - 1</a:t>
            </a:r>
            <a:endParaRPr lang="en-GB" dirty="0" smtClean="0">
              <a:latin typeface="Helvetica 75 Bold" panose="020B0804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22635" y="1399592"/>
            <a:ext cx="4302004" cy="5299788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každý kolega dostal kvet na svoj stôl s kartičkou s inštrukciami – </a:t>
            </a:r>
            <a:r>
              <a:rPr lang="sk-SK" sz="1800" dirty="0" smtClean="0">
                <a:solidFill>
                  <a:srgbClr val="FF6600"/>
                </a:solidFill>
                <a:latin typeface="Helvetica 75 Bold" panose="02000803050000020004" pitchFamily="2" charset="0"/>
              </a:rPr>
              <a:t>ako sa oň starať a ako sa zapojiť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články na intranete – výzva + úspešné projekty kolegov z minulého ročníka</a:t>
            </a:r>
            <a:endParaRPr lang="en-GB" sz="1800" dirty="0">
              <a:solidFill>
                <a:schemeClr val="bg2"/>
              </a:solidFill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800" dirty="0" smtClean="0">
                <a:solidFill>
                  <a:schemeClr val="bg2"/>
                </a:solidFill>
                <a:latin typeface="Helvetica 75 Bold" panose="02000803050000020004" pitchFamily="2" charset="0"/>
              </a:rPr>
              <a:t>e-mail</a:t>
            </a:r>
            <a:r>
              <a:rPr lang="sk-SK" sz="1800" dirty="0" smtClean="0">
                <a:solidFill>
                  <a:schemeClr val="bg2"/>
                </a:solidFill>
                <a:latin typeface="Helvetica 75 Bold" panose="02000803050000020004" pitchFamily="2" charset="0"/>
              </a:rPr>
              <a:t> </a:t>
            </a:r>
            <a:r>
              <a:rPr lang="sk-SK" sz="1800" dirty="0" smtClean="0">
                <a:latin typeface="Helvetica 75 Bold" panose="02000803050000020004" pitchFamily="2" charset="0"/>
              </a:rPr>
              <a:t>na všetkých kolegov – s </a:t>
            </a:r>
            <a:r>
              <a:rPr lang="sk-SK" sz="1800" dirty="0" err="1" smtClean="0">
                <a:latin typeface="Helvetica 75 Bold" panose="02000803050000020004" pitchFamily="2" charset="0"/>
              </a:rPr>
              <a:t>linkom</a:t>
            </a:r>
            <a:r>
              <a:rPr lang="sk-SK" sz="1800" dirty="0" smtClean="0">
                <a:latin typeface="Helvetica 75 Bold" panose="02000803050000020004" pitchFamily="2" charset="0"/>
              </a:rPr>
              <a:t> na článok s výzvou</a:t>
            </a:r>
          </a:p>
          <a:p>
            <a:pPr lvl="2" indent="0">
              <a:lnSpc>
                <a:spcPct val="150000"/>
              </a:lnSpc>
              <a:buClr>
                <a:schemeClr val="accent1"/>
              </a:buClr>
              <a:buNone/>
            </a:pPr>
            <a:endParaRPr lang="sk-SK" sz="1800" dirty="0" smtClean="0">
              <a:solidFill>
                <a:schemeClr val="bg2"/>
              </a:solidFill>
              <a:latin typeface="Helvetica 75 Bold" panose="0200080305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48554" y="1007382"/>
            <a:ext cx="7643446" cy="5524270"/>
          </a:xfrm>
          <a:prstGeom prst="rect">
            <a:avLst/>
          </a:prstGeom>
          <a:solidFill>
            <a:srgbClr val="FF66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54968">
            <a:off x="7727160" y="1544481"/>
            <a:ext cx="4163341" cy="3582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26861">
            <a:off x="4782383" y="1778418"/>
            <a:ext cx="4144049" cy="4542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7033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422634" y="382218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dirty="0" smtClean="0">
                <a:latin typeface="Helvetica 75 Bold" panose="020B0804020202020204" pitchFamily="34" charset="0"/>
              </a:rPr>
              <a:t>Komunikácia programu - 2</a:t>
            </a:r>
            <a:endParaRPr lang="en-GB" dirty="0" smtClean="0">
              <a:latin typeface="Helvetica 75 Bold" panose="020B0804020202020204" pitchFamily="34" charset="0"/>
            </a:endParaRPr>
          </a:p>
          <a:p>
            <a:r>
              <a:rPr lang="sk-SK" dirty="0" smtClean="0">
                <a:solidFill>
                  <a:schemeClr val="bg2"/>
                </a:solidFill>
                <a:latin typeface="Helvetica 75 Bold" panose="020B0804020202020204" pitchFamily="34" charset="0"/>
              </a:rPr>
              <a:t>dozvedeli</a:t>
            </a:r>
            <a:endParaRPr lang="en-GB" dirty="0">
              <a:solidFill>
                <a:schemeClr val="bg2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22634" y="1767329"/>
            <a:ext cx="4336679" cy="4103829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článok na intranete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solidFill>
                  <a:schemeClr val="bg2"/>
                </a:solidFill>
                <a:latin typeface="Helvetica 75 Bold" panose="02000803050000020004" pitchFamily="2" charset="0"/>
              </a:rPr>
              <a:t>e-mail </a:t>
            </a:r>
            <a:r>
              <a:rPr lang="sk-SK" sz="1800" dirty="0" smtClean="0">
                <a:latin typeface="Helvetica 75 Bold" panose="02000803050000020004" pitchFamily="2" charset="0"/>
              </a:rPr>
              <a:t>o uzávierke</a:t>
            </a:r>
            <a:endParaRPr lang="en-GB" sz="1800" dirty="0" smtClean="0"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solidFill>
                  <a:srgbClr val="FF6600"/>
                </a:solidFill>
                <a:latin typeface="Helvetica 75 Bold" panose="02000803050000020004" pitchFamily="2" charset="0"/>
              </a:rPr>
              <a:t>banner </a:t>
            </a:r>
            <a:r>
              <a:rPr lang="sk-SK" sz="1800" dirty="0" smtClean="0">
                <a:latin typeface="Helvetica 75 Bold" panose="02000803050000020004" pitchFamily="2" charset="0"/>
              </a:rPr>
              <a:t>na intranete – s </a:t>
            </a:r>
            <a:r>
              <a:rPr lang="sk-SK" sz="1800" dirty="0" err="1" smtClean="0">
                <a:latin typeface="Helvetica 75 Bold" panose="02000803050000020004" pitchFamily="2" charset="0"/>
              </a:rPr>
              <a:t>prelinkom</a:t>
            </a:r>
            <a:r>
              <a:rPr lang="sk-SK" sz="1800" dirty="0" smtClean="0">
                <a:latin typeface="Helvetica 75 Bold" panose="02000803050000020004" pitchFamily="2" charset="0"/>
              </a:rPr>
              <a:t> na výzvu a linkami na všetky články o ZGP</a:t>
            </a:r>
            <a:endParaRPr lang="en-GB" sz="1800" dirty="0" smtClean="0">
              <a:latin typeface="Helvetica 75 Bold" panose="02000803050000020004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057432" y="1014949"/>
            <a:ext cx="5476830" cy="5525966"/>
          </a:xfrm>
          <a:prstGeom prst="rect">
            <a:avLst/>
          </a:prstGeom>
          <a:solidFill>
            <a:srgbClr val="00E6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22007">
            <a:off x="5574324" y="1253815"/>
            <a:ext cx="4443046" cy="2576636"/>
          </a:xfrm>
          <a:prstGeom prst="rect">
            <a:avLst/>
          </a:prstGeom>
        </p:spPr>
      </p:pic>
      <p:pic>
        <p:nvPicPr>
          <p:cNvPr id="13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86926">
            <a:off x="5574324" y="4062640"/>
            <a:ext cx="4478480" cy="228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6022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422634" y="382218"/>
            <a:ext cx="11294533" cy="6327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dirty="0" smtClean="0">
                <a:latin typeface="Helvetica 75 Bold" panose="020B0804020202020204" pitchFamily="34" charset="0"/>
              </a:rPr>
              <a:t>Komunikácia programu - 3</a:t>
            </a:r>
            <a:endParaRPr lang="en-GB" dirty="0" smtClean="0">
              <a:latin typeface="Helvetica 75 Bold" panose="020B0804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22634" y="1767329"/>
            <a:ext cx="4336679" cy="4103829"/>
          </a:xfrm>
        </p:spPr>
        <p:txBody>
          <a:bodyPr/>
          <a:lstStyle/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sk-SK" sz="1800" dirty="0" smtClean="0">
              <a:latin typeface="Helvetica 75 Bold" panose="02000803050000020004" pitchFamily="2" charset="0"/>
            </a:endParaRP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latin typeface="Helvetica 75 Bold" panose="02000803050000020004" pitchFamily="2" charset="0"/>
              </a:rPr>
              <a:t>článok v internom časopise </a:t>
            </a:r>
            <a:r>
              <a:rPr lang="sk-SK" sz="1800" dirty="0" smtClean="0">
                <a:solidFill>
                  <a:srgbClr val="FF6600"/>
                </a:solidFill>
                <a:latin typeface="Helvetica 75 Bold" panose="02000803050000020004" pitchFamily="2" charset="0"/>
              </a:rPr>
              <a:t>O nás</a:t>
            </a:r>
          </a:p>
          <a:p>
            <a:pPr marL="520696" lvl="2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sk-SK" sz="1800" dirty="0" smtClean="0">
                <a:solidFill>
                  <a:srgbClr val="FF6600"/>
                </a:solidFill>
                <a:latin typeface="Helvetica 75 Bold" panose="02000803050000020004" pitchFamily="2" charset="0"/>
              </a:rPr>
              <a:t>článok </a:t>
            </a:r>
            <a:r>
              <a:rPr lang="sk-SK" sz="1800" dirty="0" smtClean="0">
                <a:latin typeface="Helvetica 75 Bold" panose="02000803050000020004" pitchFamily="2" charset="0"/>
              </a:rPr>
              <a:t>na intranete</a:t>
            </a:r>
            <a:endParaRPr lang="en-GB" sz="1800" dirty="0" smtClean="0">
              <a:latin typeface="Helvetica 75 Bold" panose="02000803050000020004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076091" y="1014949"/>
            <a:ext cx="5364863" cy="5619116"/>
          </a:xfrm>
          <a:prstGeom prst="rect">
            <a:avLst/>
          </a:prstGeom>
          <a:solidFill>
            <a:srgbClr val="00E6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2904">
            <a:off x="5814240" y="4028320"/>
            <a:ext cx="4020226" cy="23784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38005">
            <a:off x="5814240" y="1324357"/>
            <a:ext cx="4020226" cy="2578428"/>
          </a:xfrm>
          <a:prstGeom prst="rect">
            <a:avLst/>
          </a:prstGeom>
        </p:spPr>
      </p:pic>
      <p:pic>
        <p:nvPicPr>
          <p:cNvPr id="9" name="Picture 10" descr="http://upload.wikimedia.org/wikipedia/lt/a/a6/Orange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687" y="5822002"/>
            <a:ext cx="718912" cy="71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3351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i9_Orange 2">
      <a:dk1>
        <a:srgbClr val="57565A"/>
      </a:dk1>
      <a:lt1>
        <a:sysClr val="window" lastClr="FFFFFF"/>
      </a:lt1>
      <a:dk2>
        <a:srgbClr val="FFA900"/>
      </a:dk2>
      <a:lt2>
        <a:srgbClr val="FFA200"/>
      </a:lt2>
      <a:accent1>
        <a:srgbClr val="FF6800"/>
      </a:accent1>
      <a:accent2>
        <a:srgbClr val="FF7200"/>
      </a:accent2>
      <a:accent3>
        <a:srgbClr val="FF7D00"/>
      </a:accent3>
      <a:accent4>
        <a:srgbClr val="FF8700"/>
      </a:accent4>
      <a:accent5>
        <a:srgbClr val="FF9100"/>
      </a:accent5>
      <a:accent6>
        <a:srgbClr val="FF9A00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i9_Orange 2">
      <a:dk1>
        <a:srgbClr val="57565A"/>
      </a:dk1>
      <a:lt1>
        <a:sysClr val="window" lastClr="FFFFFF"/>
      </a:lt1>
      <a:dk2>
        <a:srgbClr val="FFA900"/>
      </a:dk2>
      <a:lt2>
        <a:srgbClr val="FFA200"/>
      </a:lt2>
      <a:accent1>
        <a:srgbClr val="FF6800"/>
      </a:accent1>
      <a:accent2>
        <a:srgbClr val="FF7200"/>
      </a:accent2>
      <a:accent3>
        <a:srgbClr val="FF7D00"/>
      </a:accent3>
      <a:accent4>
        <a:srgbClr val="FF8700"/>
      </a:accent4>
      <a:accent5>
        <a:srgbClr val="FF9100"/>
      </a:accent5>
      <a:accent6>
        <a:srgbClr val="FF9A00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blank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4.xml><?xml version="1.0" encoding="utf-8"?>
<a:theme xmlns:a="http://schemas.openxmlformats.org/drawingml/2006/main" name="1_Orange Template - Black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5.xml><?xml version="1.0" encoding="utf-8"?>
<a:theme xmlns:a="http://schemas.openxmlformats.org/drawingml/2006/main" name="11_Orange Template - Whi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6.xml><?xml version="1.0" encoding="utf-8"?>
<a:theme xmlns:a="http://schemas.openxmlformats.org/drawingml/2006/main" name="ORA_template_EN_beta">
  <a:themeElements>
    <a:clrScheme name="Orange 00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FF6600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range standard">
      <a:majorFont>
        <a:latin typeface="Helvetica 55 Roman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BB4E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885</TotalTime>
  <Words>440</Words>
  <Application>Microsoft Office PowerPoint</Application>
  <PresentationFormat>Widescreen</PresentationFormat>
  <Paragraphs>88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2" baseType="lpstr">
      <vt:lpstr>ＭＳ Ｐゴシック</vt:lpstr>
      <vt:lpstr>Arial</vt:lpstr>
      <vt:lpstr>Calibri</vt:lpstr>
      <vt:lpstr>Helvetica 35 Thin</vt:lpstr>
      <vt:lpstr>Helvetica 45 Light</vt:lpstr>
      <vt:lpstr>Helvetica 55 Roman</vt:lpstr>
      <vt:lpstr>Helvetica 75</vt:lpstr>
      <vt:lpstr>Helvetica 75 Bold</vt:lpstr>
      <vt:lpstr>Open Sans</vt:lpstr>
      <vt:lpstr>Open Sans Light</vt:lpstr>
      <vt:lpstr>Wingdings</vt:lpstr>
      <vt:lpstr>2_Office Theme</vt:lpstr>
      <vt:lpstr>3_Office Theme</vt:lpstr>
      <vt:lpstr>2_blank</vt:lpstr>
      <vt:lpstr>1_Orange Template - Black</vt:lpstr>
      <vt:lpstr>11_Orange Template - White</vt:lpstr>
      <vt:lpstr>ORA_template_EN_bet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Ďakujem za pozornosť</vt:lpstr>
    </vt:vector>
  </TitlesOfParts>
  <Company>Orange Slovensko, a.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THPeter</dc:creator>
  <cp:lastModifiedBy>DUPACOVAIda</cp:lastModifiedBy>
  <cp:revision>1765</cp:revision>
  <cp:lastPrinted>2018-06-05T07:56:29Z</cp:lastPrinted>
  <dcterms:created xsi:type="dcterms:W3CDTF">2015-04-30T08:48:51Z</dcterms:created>
  <dcterms:modified xsi:type="dcterms:W3CDTF">2018-10-10T12:13:02Z</dcterms:modified>
</cp:coreProperties>
</file>